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42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1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oleObject" Target="../embeddings/oleObject3.bin"/><Relationship Id="rId5" Type="http://schemas.openxmlformats.org/officeDocument/2006/relationships/tags" Target="../tags/tag8.xml"/><Relationship Id="rId10" Type="http://schemas.openxmlformats.org/officeDocument/2006/relationships/image" Target="../media/image3.png"/><Relationship Id="rId4" Type="http://schemas.openxmlformats.org/officeDocument/2006/relationships/tags" Target="../tags/tag7.xml"/><Relationship Id="rId9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9EE648-AFE2-5621-F3BD-BBB35062B9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Picture 52">
            <a:extLst>
              <a:ext uri="{FF2B5EF4-FFF2-40B4-BE49-F238E27FC236}">
                <a16:creationId xmlns:a16="http://schemas.microsoft.com/office/drawing/2014/main" id="{9C3AC339-F7C1-E80E-AF37-27F854AE0F8D}"/>
              </a:ext>
            </a:extLst>
          </p:cNvPr>
          <p:cNvPicPr>
            <a:picLocks noChangeAspect="1"/>
          </p:cNvPicPr>
          <p:nvPr/>
        </p:nvPicPr>
        <p:blipFill>
          <a:blip r:embed="rId10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63267" y="3773862"/>
            <a:ext cx="3132010" cy="2907924"/>
          </a:xfrm>
          <a:prstGeom prst="rect">
            <a:avLst/>
          </a:prstGeom>
        </p:spPr>
      </p:pic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DC3BDB96-F453-B0E0-4E9F-D26886A9B7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25" imgH="426" progId="TCLayout.ActiveDocument.1">
                  <p:embed/>
                </p:oleObj>
              </mc:Choice>
              <mc:Fallback>
                <p:oleObj name="think-cell Slide" r:id="rId11" imgW="425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C3BDB96-F453-B0E0-4E9F-D26886A9B7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28A2C8C-4EFA-DC59-AB07-652321F518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EAC7987-20E4-8F6A-D074-06E6CE47F0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7 Semi circle </a:t>
            </a:r>
          </a:p>
        </p:txBody>
      </p:sp>
      <p:sp>
        <p:nvSpPr>
          <p:cNvPr id="5" name="Freeform 40">
            <a:extLst>
              <a:ext uri="{FF2B5EF4-FFF2-40B4-BE49-F238E27FC236}">
                <a16:creationId xmlns:a16="http://schemas.microsoft.com/office/drawing/2014/main" id="{0BA144B2-8A8F-58F1-32B0-77E82337E74E}"/>
              </a:ext>
            </a:extLst>
          </p:cNvPr>
          <p:cNvSpPr>
            <a:spLocks/>
          </p:cNvSpPr>
          <p:nvPr/>
        </p:nvSpPr>
        <p:spPr bwMode="auto">
          <a:xfrm rot="16200000">
            <a:off x="2573066" y="4800958"/>
            <a:ext cx="1350279" cy="1143975"/>
          </a:xfrm>
          <a:custGeom>
            <a:avLst/>
            <a:gdLst>
              <a:gd name="T0" fmla="*/ 0 w 1872"/>
              <a:gd name="T1" fmla="*/ 0 h 1594"/>
              <a:gd name="T2" fmla="*/ 1872 w 1872"/>
              <a:gd name="T3" fmla="*/ 428 h 1594"/>
              <a:gd name="T4" fmla="*/ 1311 w 1872"/>
              <a:gd name="T5" fmla="*/ 1594 h 1594"/>
              <a:gd name="T6" fmla="*/ 0 w 1872"/>
              <a:gd name="T7" fmla="*/ 1295 h 1594"/>
              <a:gd name="T8" fmla="*/ 0 w 1872"/>
              <a:gd name="T9" fmla="*/ 0 h 15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72" h="1594">
                <a:moveTo>
                  <a:pt x="0" y="0"/>
                </a:moveTo>
                <a:cubicBezTo>
                  <a:pt x="648" y="0"/>
                  <a:pt x="1288" y="146"/>
                  <a:pt x="1872" y="428"/>
                </a:cubicBezTo>
                <a:lnTo>
                  <a:pt x="1311" y="1594"/>
                </a:lnTo>
                <a:cubicBezTo>
                  <a:pt x="902" y="1397"/>
                  <a:pt x="453" y="1295"/>
                  <a:pt x="0" y="1295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17463" cap="flat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Freeform 42">
            <a:extLst>
              <a:ext uri="{FF2B5EF4-FFF2-40B4-BE49-F238E27FC236}">
                <a16:creationId xmlns:a16="http://schemas.microsoft.com/office/drawing/2014/main" id="{CB34C284-A4F5-2359-DE4E-1AF04570F77E}"/>
              </a:ext>
            </a:extLst>
          </p:cNvPr>
          <p:cNvSpPr>
            <a:spLocks/>
          </p:cNvSpPr>
          <p:nvPr/>
        </p:nvSpPr>
        <p:spPr bwMode="auto">
          <a:xfrm rot="16200000">
            <a:off x="2990213" y="3570048"/>
            <a:ext cx="1487527" cy="1437970"/>
          </a:xfrm>
          <a:custGeom>
            <a:avLst/>
            <a:gdLst>
              <a:gd name="T0" fmla="*/ 561 w 2063"/>
              <a:gd name="T1" fmla="*/ 0 h 2005"/>
              <a:gd name="T2" fmla="*/ 2063 w 2063"/>
              <a:gd name="T3" fmla="*/ 1197 h 2005"/>
              <a:gd name="T4" fmla="*/ 1051 w 2063"/>
              <a:gd name="T5" fmla="*/ 2005 h 2005"/>
              <a:gd name="T6" fmla="*/ 0 w 2063"/>
              <a:gd name="T7" fmla="*/ 1166 h 2005"/>
              <a:gd name="T8" fmla="*/ 561 w 2063"/>
              <a:gd name="T9" fmla="*/ 0 h 20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63" h="2005">
                <a:moveTo>
                  <a:pt x="561" y="0"/>
                </a:moveTo>
                <a:cubicBezTo>
                  <a:pt x="1146" y="281"/>
                  <a:pt x="1659" y="690"/>
                  <a:pt x="2063" y="1197"/>
                </a:cubicBezTo>
                <a:lnTo>
                  <a:pt x="1051" y="2005"/>
                </a:lnTo>
                <a:cubicBezTo>
                  <a:pt x="768" y="1650"/>
                  <a:pt x="409" y="1363"/>
                  <a:pt x="0" y="1166"/>
                </a:cubicBezTo>
                <a:lnTo>
                  <a:pt x="561" y="0"/>
                </a:lnTo>
                <a:close/>
              </a:path>
            </a:pathLst>
          </a:custGeom>
          <a:solidFill>
            <a:schemeClr val="accent2"/>
          </a:solidFill>
          <a:ln w="17463" cap="flat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" name="Freeform 44">
            <a:extLst>
              <a:ext uri="{FF2B5EF4-FFF2-40B4-BE49-F238E27FC236}">
                <a16:creationId xmlns:a16="http://schemas.microsoft.com/office/drawing/2014/main" id="{161A3441-B8C1-8297-6AD9-66C5E536AD39}"/>
              </a:ext>
            </a:extLst>
          </p:cNvPr>
          <p:cNvSpPr>
            <a:spLocks/>
          </p:cNvSpPr>
          <p:nvPr/>
        </p:nvSpPr>
        <p:spPr bwMode="auto">
          <a:xfrm rot="16200000">
            <a:off x="3989281" y="2839927"/>
            <a:ext cx="1332114" cy="1447969"/>
          </a:xfrm>
          <a:custGeom>
            <a:avLst/>
            <a:gdLst>
              <a:gd name="T0" fmla="*/ 1012 w 1846"/>
              <a:gd name="T1" fmla="*/ 0 h 2019"/>
              <a:gd name="T2" fmla="*/ 1846 w 1846"/>
              <a:gd name="T3" fmla="*/ 1731 h 2019"/>
              <a:gd name="T4" fmla="*/ 583 w 1846"/>
              <a:gd name="T5" fmla="*/ 2019 h 2019"/>
              <a:gd name="T6" fmla="*/ 0 w 1846"/>
              <a:gd name="T7" fmla="*/ 808 h 2019"/>
              <a:gd name="T8" fmla="*/ 1012 w 1846"/>
              <a:gd name="T9" fmla="*/ 0 h 20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46" h="2019">
                <a:moveTo>
                  <a:pt x="1012" y="0"/>
                </a:moveTo>
                <a:cubicBezTo>
                  <a:pt x="1417" y="507"/>
                  <a:pt x="1701" y="1099"/>
                  <a:pt x="1846" y="1731"/>
                </a:cubicBezTo>
                <a:lnTo>
                  <a:pt x="583" y="2019"/>
                </a:lnTo>
                <a:cubicBezTo>
                  <a:pt x="482" y="1577"/>
                  <a:pt x="283" y="1163"/>
                  <a:pt x="0" y="808"/>
                </a:cubicBezTo>
                <a:lnTo>
                  <a:pt x="1012" y="0"/>
                </a:lnTo>
                <a:close/>
              </a:path>
            </a:pathLst>
          </a:custGeom>
          <a:solidFill>
            <a:schemeClr val="accent3"/>
          </a:solidFill>
          <a:ln w="17463" cap="flat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Freeform 46">
            <a:extLst>
              <a:ext uri="{FF2B5EF4-FFF2-40B4-BE49-F238E27FC236}">
                <a16:creationId xmlns:a16="http://schemas.microsoft.com/office/drawing/2014/main" id="{554BB621-EB6B-4BE7-2542-CDA1B5F83CD7}"/>
              </a:ext>
            </a:extLst>
          </p:cNvPr>
          <p:cNvSpPr>
            <a:spLocks/>
          </p:cNvSpPr>
          <p:nvPr/>
        </p:nvSpPr>
        <p:spPr bwMode="auto">
          <a:xfrm rot="16200000">
            <a:off x="5437357" y="2594789"/>
            <a:ext cx="1013216" cy="1377971"/>
          </a:xfrm>
          <a:custGeom>
            <a:avLst/>
            <a:gdLst>
              <a:gd name="T0" fmla="*/ 1263 w 1407"/>
              <a:gd name="T1" fmla="*/ 0 h 1921"/>
              <a:gd name="T2" fmla="*/ 1263 w 1407"/>
              <a:gd name="T3" fmla="*/ 1921 h 1921"/>
              <a:gd name="T4" fmla="*/ 0 w 1407"/>
              <a:gd name="T5" fmla="*/ 1633 h 1921"/>
              <a:gd name="T6" fmla="*/ 0 w 1407"/>
              <a:gd name="T7" fmla="*/ 288 h 1921"/>
              <a:gd name="T8" fmla="*/ 1263 w 1407"/>
              <a:gd name="T9" fmla="*/ 0 h 19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07" h="1921">
                <a:moveTo>
                  <a:pt x="1263" y="0"/>
                </a:moveTo>
                <a:cubicBezTo>
                  <a:pt x="1407" y="632"/>
                  <a:pt x="1407" y="1289"/>
                  <a:pt x="1263" y="1921"/>
                </a:cubicBezTo>
                <a:lnTo>
                  <a:pt x="0" y="1633"/>
                </a:lnTo>
                <a:cubicBezTo>
                  <a:pt x="101" y="1190"/>
                  <a:pt x="101" y="731"/>
                  <a:pt x="0" y="288"/>
                </a:cubicBezTo>
                <a:lnTo>
                  <a:pt x="1263" y="0"/>
                </a:lnTo>
                <a:close/>
              </a:path>
            </a:pathLst>
          </a:custGeom>
          <a:solidFill>
            <a:schemeClr val="accent4"/>
          </a:solidFill>
          <a:ln w="17463" cap="flat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48">
            <a:extLst>
              <a:ext uri="{FF2B5EF4-FFF2-40B4-BE49-F238E27FC236}">
                <a16:creationId xmlns:a16="http://schemas.microsoft.com/office/drawing/2014/main" id="{6F3436A7-6DFB-18AF-DAFD-43F3D6EA5AAC}"/>
              </a:ext>
            </a:extLst>
          </p:cNvPr>
          <p:cNvSpPr>
            <a:spLocks/>
          </p:cNvSpPr>
          <p:nvPr/>
        </p:nvSpPr>
        <p:spPr bwMode="auto">
          <a:xfrm rot="16200000">
            <a:off x="6564397" y="2839927"/>
            <a:ext cx="1332114" cy="1447969"/>
          </a:xfrm>
          <a:custGeom>
            <a:avLst/>
            <a:gdLst>
              <a:gd name="T0" fmla="*/ 1846 w 1846"/>
              <a:gd name="T1" fmla="*/ 288 h 2019"/>
              <a:gd name="T2" fmla="*/ 1012 w 1846"/>
              <a:gd name="T3" fmla="*/ 2019 h 2019"/>
              <a:gd name="T4" fmla="*/ 0 w 1846"/>
              <a:gd name="T5" fmla="*/ 1212 h 2019"/>
              <a:gd name="T6" fmla="*/ 583 w 1846"/>
              <a:gd name="T7" fmla="*/ 0 h 2019"/>
              <a:gd name="T8" fmla="*/ 1846 w 1846"/>
              <a:gd name="T9" fmla="*/ 288 h 20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46" h="2019">
                <a:moveTo>
                  <a:pt x="1846" y="288"/>
                </a:moveTo>
                <a:cubicBezTo>
                  <a:pt x="1701" y="920"/>
                  <a:pt x="1417" y="1512"/>
                  <a:pt x="1012" y="2019"/>
                </a:cubicBezTo>
                <a:lnTo>
                  <a:pt x="0" y="1212"/>
                </a:lnTo>
                <a:cubicBezTo>
                  <a:pt x="283" y="857"/>
                  <a:pt x="482" y="443"/>
                  <a:pt x="583" y="0"/>
                </a:cubicBezTo>
                <a:lnTo>
                  <a:pt x="1846" y="288"/>
                </a:lnTo>
                <a:close/>
              </a:path>
            </a:pathLst>
          </a:custGeom>
          <a:solidFill>
            <a:schemeClr val="accent5"/>
          </a:solidFill>
          <a:ln w="17463" cap="flat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50">
            <a:extLst>
              <a:ext uri="{FF2B5EF4-FFF2-40B4-BE49-F238E27FC236}">
                <a16:creationId xmlns:a16="http://schemas.microsoft.com/office/drawing/2014/main" id="{2D7C741E-FDC9-87E2-21C2-70D015D9F2B8}"/>
              </a:ext>
            </a:extLst>
          </p:cNvPr>
          <p:cNvSpPr>
            <a:spLocks/>
          </p:cNvSpPr>
          <p:nvPr/>
        </p:nvSpPr>
        <p:spPr bwMode="auto">
          <a:xfrm rot="16200000">
            <a:off x="7410188" y="3570048"/>
            <a:ext cx="1487527" cy="1437970"/>
          </a:xfrm>
          <a:custGeom>
            <a:avLst/>
            <a:gdLst>
              <a:gd name="T0" fmla="*/ 2063 w 2063"/>
              <a:gd name="T1" fmla="*/ 807 h 2005"/>
              <a:gd name="T2" fmla="*/ 561 w 2063"/>
              <a:gd name="T3" fmla="*/ 2005 h 2005"/>
              <a:gd name="T4" fmla="*/ 0 w 2063"/>
              <a:gd name="T5" fmla="*/ 838 h 2005"/>
              <a:gd name="T6" fmla="*/ 1051 w 2063"/>
              <a:gd name="T7" fmla="*/ 0 h 2005"/>
              <a:gd name="T8" fmla="*/ 2063 w 2063"/>
              <a:gd name="T9" fmla="*/ 807 h 20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63" h="2005">
                <a:moveTo>
                  <a:pt x="2063" y="807"/>
                </a:moveTo>
                <a:cubicBezTo>
                  <a:pt x="1659" y="1314"/>
                  <a:pt x="1146" y="1723"/>
                  <a:pt x="561" y="2005"/>
                </a:cubicBezTo>
                <a:lnTo>
                  <a:pt x="0" y="838"/>
                </a:lnTo>
                <a:cubicBezTo>
                  <a:pt x="409" y="641"/>
                  <a:pt x="768" y="354"/>
                  <a:pt x="1051" y="0"/>
                </a:cubicBezTo>
                <a:lnTo>
                  <a:pt x="2063" y="807"/>
                </a:lnTo>
                <a:close/>
              </a:path>
            </a:pathLst>
          </a:custGeom>
          <a:solidFill>
            <a:schemeClr val="accent6"/>
          </a:solidFill>
          <a:ln w="17463" cap="flat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52">
            <a:extLst>
              <a:ext uri="{FF2B5EF4-FFF2-40B4-BE49-F238E27FC236}">
                <a16:creationId xmlns:a16="http://schemas.microsoft.com/office/drawing/2014/main" id="{125AD50B-9E4F-C317-3612-65057A5C8A3E}"/>
              </a:ext>
            </a:extLst>
          </p:cNvPr>
          <p:cNvSpPr>
            <a:spLocks/>
          </p:cNvSpPr>
          <p:nvPr/>
        </p:nvSpPr>
        <p:spPr bwMode="auto">
          <a:xfrm rot="16200000">
            <a:off x="7963514" y="4801957"/>
            <a:ext cx="1350279" cy="1141975"/>
          </a:xfrm>
          <a:custGeom>
            <a:avLst/>
            <a:gdLst>
              <a:gd name="T0" fmla="*/ 1872 w 1872"/>
              <a:gd name="T1" fmla="*/ 1167 h 1594"/>
              <a:gd name="T2" fmla="*/ 0 w 1872"/>
              <a:gd name="T3" fmla="*/ 1594 h 1594"/>
              <a:gd name="T4" fmla="*/ 0 w 1872"/>
              <a:gd name="T5" fmla="*/ 299 h 1594"/>
              <a:gd name="T6" fmla="*/ 1311 w 1872"/>
              <a:gd name="T7" fmla="*/ 0 h 1594"/>
              <a:gd name="T8" fmla="*/ 1872 w 1872"/>
              <a:gd name="T9" fmla="*/ 1167 h 15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72" h="1594">
                <a:moveTo>
                  <a:pt x="1872" y="1167"/>
                </a:moveTo>
                <a:cubicBezTo>
                  <a:pt x="1288" y="1448"/>
                  <a:pt x="648" y="1594"/>
                  <a:pt x="0" y="1594"/>
                </a:cubicBezTo>
                <a:lnTo>
                  <a:pt x="0" y="299"/>
                </a:lnTo>
                <a:cubicBezTo>
                  <a:pt x="453" y="299"/>
                  <a:pt x="902" y="197"/>
                  <a:pt x="1311" y="0"/>
                </a:cubicBezTo>
                <a:lnTo>
                  <a:pt x="1872" y="1167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w="17463" cap="flat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576A306-C954-E8B5-A6C4-74A4CA62C780}"/>
              </a:ext>
            </a:extLst>
          </p:cNvPr>
          <p:cNvGrpSpPr/>
          <p:nvPr/>
        </p:nvGrpSpPr>
        <p:grpSpPr>
          <a:xfrm>
            <a:off x="5101654" y="4614450"/>
            <a:ext cx="1538990" cy="1545630"/>
            <a:chOff x="5326506" y="4614450"/>
            <a:chExt cx="1538990" cy="1545630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09775D5-ECF3-EACA-A558-FE0B51116736}"/>
                </a:ext>
              </a:extLst>
            </p:cNvPr>
            <p:cNvSpPr/>
            <p:nvPr/>
          </p:nvSpPr>
          <p:spPr>
            <a:xfrm flipV="1">
              <a:off x="5326506" y="4614450"/>
              <a:ext cx="1538990" cy="1545630"/>
            </a:xfrm>
            <a:prstGeom prst="ellipse">
              <a:avLst/>
            </a:prstGeom>
            <a:solidFill>
              <a:schemeClr val="tx1">
                <a:lumMod val="10000"/>
                <a:lumOff val="90000"/>
              </a:schemeClr>
            </a:solidFill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Title 1">
              <a:extLst>
                <a:ext uri="{FF2B5EF4-FFF2-40B4-BE49-F238E27FC236}">
                  <a16:creationId xmlns:a16="http://schemas.microsoft.com/office/drawing/2014/main" id="{7356DB2D-AA0D-1852-D0E3-FF586B8DD169}"/>
                </a:ext>
              </a:extLst>
            </p:cNvPr>
            <p:cNvSpPr txBox="1">
              <a:spLocks/>
            </p:cNvSpPr>
            <p:nvPr/>
          </p:nvSpPr>
          <p:spPr>
            <a:xfrm>
              <a:off x="5445988" y="5093350"/>
              <a:ext cx="1300026" cy="587830"/>
            </a:xfrm>
            <a:prstGeom prst="rect">
              <a:avLst/>
            </a:prstGeom>
          </p:spPr>
          <p:txBody>
            <a:bodyPr/>
            <a:lstStyle>
              <a:lvl1pPr algn="l" defTabSz="1828434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60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 defTabSz="457152">
                <a:buClr>
                  <a:srgbClr val="0070C0"/>
                </a:buClr>
                <a:defRPr/>
              </a:pPr>
              <a:r>
                <a:rPr lang="en-IN" sz="2000" b="1" dirty="0">
                  <a:solidFill>
                    <a:schemeClr val="tx2"/>
                  </a:solidFill>
                  <a:latin typeface="+mn-lt"/>
                  <a:ea typeface="Open Sans ExtraBold" charset="0"/>
                  <a:cs typeface="Open Sans ExtraBold" charset="0"/>
                </a:rPr>
                <a:t>INSERT</a:t>
              </a:r>
              <a:r>
                <a:rPr lang="en-IN" sz="2000" b="1" dirty="0">
                  <a:solidFill>
                    <a:schemeClr val="tx2"/>
                  </a:solidFill>
                  <a:latin typeface="+mn-lt"/>
                </a:rPr>
                <a:t> </a:t>
              </a:r>
              <a:br>
                <a:rPr lang="en-IN" sz="1200" b="1" dirty="0">
                  <a:solidFill>
                    <a:schemeClr val="tx2"/>
                  </a:solidFill>
                  <a:latin typeface="+mn-lt"/>
                </a:rPr>
              </a:br>
              <a:r>
                <a:rPr lang="en-IN" sz="1100" dirty="0">
                  <a:solidFill>
                    <a:schemeClr val="tx2"/>
                  </a:solidFill>
                  <a:latin typeface="+mn-lt"/>
                </a:rPr>
                <a:t>SUB-HEADING</a:t>
              </a:r>
              <a:endParaRPr lang="en-IN" sz="1000" dirty="0">
                <a:solidFill>
                  <a:schemeClr val="tx2"/>
                </a:solidFill>
                <a:latin typeface="+mn-lt"/>
              </a:endParaRPr>
            </a:p>
          </p:txBody>
        </p:sp>
      </p:grpSp>
      <p:grpSp>
        <p:nvGrpSpPr>
          <p:cNvPr id="15" name="ZenIcon1">
            <a:extLst>
              <a:ext uri="{FF2B5EF4-FFF2-40B4-BE49-F238E27FC236}">
                <a16:creationId xmlns:a16="http://schemas.microsoft.com/office/drawing/2014/main" id="{69ADD9AA-B74A-8FCC-6795-8377B08FAA0D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8411560" y="5324792"/>
            <a:ext cx="452757" cy="452757"/>
            <a:chOff x="5712408" y="975680"/>
            <a:chExt cx="671729" cy="639391"/>
          </a:xfrm>
        </p:grpSpPr>
        <p:sp>
          <p:nvSpPr>
            <p:cNvPr id="16" name="Freeform 26">
              <a:extLst>
                <a:ext uri="{FF2B5EF4-FFF2-40B4-BE49-F238E27FC236}">
                  <a16:creationId xmlns:a16="http://schemas.microsoft.com/office/drawing/2014/main" id="{028DFF4F-7C9A-4D1F-0144-7B9891A836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2408" y="975680"/>
              <a:ext cx="671729" cy="639391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17" name="Freeform 27">
              <a:extLst>
                <a:ext uri="{FF2B5EF4-FFF2-40B4-BE49-F238E27FC236}">
                  <a16:creationId xmlns:a16="http://schemas.microsoft.com/office/drawing/2014/main" id="{36B9FFF7-37C0-F724-0AED-0145CF5662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6917" y="1058042"/>
              <a:ext cx="502713" cy="338119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18" name="Freeform 28">
              <a:extLst>
                <a:ext uri="{FF2B5EF4-FFF2-40B4-BE49-F238E27FC236}">
                  <a16:creationId xmlns:a16="http://schemas.microsoft.com/office/drawing/2014/main" id="{830BD45A-C542-2011-0F4D-3DD5DD90AE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7937" y="1404831"/>
              <a:ext cx="62840" cy="65023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19" name="Freeform 29">
              <a:extLst>
                <a:ext uri="{FF2B5EF4-FFF2-40B4-BE49-F238E27FC236}">
                  <a16:creationId xmlns:a16="http://schemas.microsoft.com/office/drawing/2014/main" id="{4B6D7C85-2209-12E0-9AA8-053D135E031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3429" y="1190255"/>
              <a:ext cx="84509" cy="88864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0" name="Freeform 30">
              <a:extLst>
                <a:ext uri="{FF2B5EF4-FFF2-40B4-BE49-F238E27FC236}">
                  <a16:creationId xmlns:a16="http://schemas.microsoft.com/office/drawing/2014/main" id="{CDBC1732-72FC-B8BE-7650-052C6B048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6605" y="1175084"/>
              <a:ext cx="43337" cy="119208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1" name="Freeform 31">
              <a:extLst>
                <a:ext uri="{FF2B5EF4-FFF2-40B4-BE49-F238E27FC236}">
                  <a16:creationId xmlns:a16="http://schemas.microsoft.com/office/drawing/2014/main" id="{BB4EB6A9-61D0-6924-675F-37145F06377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776" y="1190255"/>
              <a:ext cx="82341" cy="88864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</p:grpSp>
      <p:sp>
        <p:nvSpPr>
          <p:cNvPr id="22" name="ZenIcon2">
            <a:extLst>
              <a:ext uri="{FF2B5EF4-FFF2-40B4-BE49-F238E27FC236}">
                <a16:creationId xmlns:a16="http://schemas.microsoft.com/office/drawing/2014/main" id="{E05CA417-2786-C554-DC42-186AAD884B1A}"/>
              </a:ext>
            </a:extLst>
          </p:cNvPr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2989461" y="5323886"/>
            <a:ext cx="452757" cy="452757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/>
          </a:p>
        </p:txBody>
      </p:sp>
      <p:sp>
        <p:nvSpPr>
          <p:cNvPr id="23" name="ZenIcon3">
            <a:extLst>
              <a:ext uri="{FF2B5EF4-FFF2-40B4-BE49-F238E27FC236}">
                <a16:creationId xmlns:a16="http://schemas.microsoft.com/office/drawing/2014/main" id="{ABF20405-FB2B-923D-31F8-5B54A59ADCB4}"/>
              </a:ext>
            </a:extLst>
          </p:cNvPr>
          <p:cNvSpPr>
            <a:spLocks noChangeAspect="1" noEditPoints="1"/>
          </p:cNvSpPr>
          <p:nvPr>
            <p:custDataLst>
              <p:tags r:id="rId4"/>
            </p:custDataLst>
          </p:nvPr>
        </p:nvSpPr>
        <p:spPr bwMode="auto">
          <a:xfrm>
            <a:off x="3503389" y="4097901"/>
            <a:ext cx="452757" cy="453884"/>
          </a:xfrm>
          <a:custGeom>
            <a:avLst/>
            <a:gdLst>
              <a:gd name="T0" fmla="*/ 1698 w 2448"/>
              <a:gd name="T1" fmla="*/ 97 h 2446"/>
              <a:gd name="T2" fmla="*/ 748 w 2448"/>
              <a:gd name="T3" fmla="*/ 97 h 2446"/>
              <a:gd name="T4" fmla="*/ 0 w 2448"/>
              <a:gd name="T5" fmla="*/ 1222 h 2446"/>
              <a:gd name="T6" fmla="*/ 748 w 2448"/>
              <a:gd name="T7" fmla="*/ 2349 h 2446"/>
              <a:gd name="T8" fmla="*/ 1698 w 2448"/>
              <a:gd name="T9" fmla="*/ 2349 h 2446"/>
              <a:gd name="T10" fmla="*/ 2448 w 2448"/>
              <a:gd name="T11" fmla="*/ 1222 h 2446"/>
              <a:gd name="T12" fmla="*/ 816 w 2448"/>
              <a:gd name="T13" fmla="*/ 227 h 2446"/>
              <a:gd name="T14" fmla="*/ 264 w 2448"/>
              <a:gd name="T15" fmla="*/ 737 h 2446"/>
              <a:gd name="T16" fmla="*/ 149 w 2448"/>
              <a:gd name="T17" fmla="*/ 1222 h 2446"/>
              <a:gd name="T18" fmla="*/ 554 w 2448"/>
              <a:gd name="T19" fmla="*/ 884 h 2446"/>
              <a:gd name="T20" fmla="*/ 554 w 2448"/>
              <a:gd name="T21" fmla="*/ 1556 h 2446"/>
              <a:gd name="T22" fmla="*/ 149 w 2448"/>
              <a:gd name="T23" fmla="*/ 1222 h 2446"/>
              <a:gd name="T24" fmla="*/ 584 w 2448"/>
              <a:gd name="T25" fmla="*/ 1704 h 2446"/>
              <a:gd name="T26" fmla="*/ 264 w 2448"/>
              <a:gd name="T27" fmla="*/ 1704 h 2446"/>
              <a:gd name="T28" fmla="*/ 906 w 2448"/>
              <a:gd name="T29" fmla="*/ 2092 h 2446"/>
              <a:gd name="T30" fmla="*/ 1148 w 2448"/>
              <a:gd name="T31" fmla="*/ 1704 h 2446"/>
              <a:gd name="T32" fmla="*/ 1148 w 2448"/>
              <a:gd name="T33" fmla="*/ 1556 h 2446"/>
              <a:gd name="T34" fmla="*/ 677 w 2448"/>
              <a:gd name="T35" fmla="*/ 1222 h 2446"/>
              <a:gd name="T36" fmla="*/ 1148 w 2448"/>
              <a:gd name="T37" fmla="*/ 884 h 2446"/>
              <a:gd name="T38" fmla="*/ 1148 w 2448"/>
              <a:gd name="T39" fmla="*/ 737 h 2446"/>
              <a:gd name="T40" fmla="*/ 909 w 2448"/>
              <a:gd name="T41" fmla="*/ 353 h 2446"/>
              <a:gd name="T42" fmla="*/ 1148 w 2448"/>
              <a:gd name="T43" fmla="*/ 737 h 2446"/>
              <a:gd name="T44" fmla="*/ 1864 w 2448"/>
              <a:gd name="T45" fmla="*/ 737 h 2446"/>
              <a:gd name="T46" fmla="*/ 2184 w 2448"/>
              <a:gd name="T47" fmla="*/ 737 h 2446"/>
              <a:gd name="T48" fmla="*/ 1539 w 2448"/>
              <a:gd name="T49" fmla="*/ 353 h 2446"/>
              <a:gd name="T50" fmla="*/ 1300 w 2448"/>
              <a:gd name="T51" fmla="*/ 737 h 2446"/>
              <a:gd name="T52" fmla="*/ 1300 w 2448"/>
              <a:gd name="T53" fmla="*/ 884 h 2446"/>
              <a:gd name="T54" fmla="*/ 1771 w 2448"/>
              <a:gd name="T55" fmla="*/ 1222 h 2446"/>
              <a:gd name="T56" fmla="*/ 1300 w 2448"/>
              <a:gd name="T57" fmla="*/ 1556 h 2446"/>
              <a:gd name="T58" fmla="*/ 1300 w 2448"/>
              <a:gd name="T59" fmla="*/ 2286 h 2446"/>
              <a:gd name="T60" fmla="*/ 1711 w 2448"/>
              <a:gd name="T61" fmla="*/ 1704 h 2446"/>
              <a:gd name="T62" fmla="*/ 1300 w 2448"/>
              <a:gd name="T63" fmla="*/ 2286 h 2446"/>
              <a:gd name="T64" fmla="*/ 1864 w 2448"/>
              <a:gd name="T65" fmla="*/ 1704 h 2446"/>
              <a:gd name="T66" fmla="*/ 1632 w 2448"/>
              <a:gd name="T67" fmla="*/ 2219 h 2446"/>
              <a:gd name="T68" fmla="*/ 1894 w 2448"/>
              <a:gd name="T69" fmla="*/ 1556 h 2446"/>
              <a:gd name="T70" fmla="*/ 1894 w 2448"/>
              <a:gd name="T71" fmla="*/ 884 h 2446"/>
              <a:gd name="T72" fmla="*/ 2299 w 2448"/>
              <a:gd name="T73" fmla="*/ 1222 h 2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448" h="2446">
                <a:moveTo>
                  <a:pt x="2350" y="747"/>
                </a:moveTo>
                <a:cubicBezTo>
                  <a:pt x="2221" y="446"/>
                  <a:pt x="2002" y="227"/>
                  <a:pt x="1698" y="97"/>
                </a:cubicBezTo>
                <a:cubicBezTo>
                  <a:pt x="1547" y="33"/>
                  <a:pt x="1389" y="0"/>
                  <a:pt x="1223" y="0"/>
                </a:cubicBezTo>
                <a:cubicBezTo>
                  <a:pt x="1057" y="0"/>
                  <a:pt x="900" y="32"/>
                  <a:pt x="748" y="97"/>
                </a:cubicBezTo>
                <a:cubicBezTo>
                  <a:pt x="447" y="226"/>
                  <a:pt x="226" y="445"/>
                  <a:pt x="96" y="747"/>
                </a:cubicBezTo>
                <a:cubicBezTo>
                  <a:pt x="32" y="898"/>
                  <a:pt x="0" y="1056"/>
                  <a:pt x="0" y="1222"/>
                </a:cubicBezTo>
                <a:cubicBezTo>
                  <a:pt x="0" y="1388"/>
                  <a:pt x="32" y="1547"/>
                  <a:pt x="96" y="1698"/>
                </a:cubicBezTo>
                <a:cubicBezTo>
                  <a:pt x="226" y="2000"/>
                  <a:pt x="447" y="2220"/>
                  <a:pt x="748" y="2349"/>
                </a:cubicBezTo>
                <a:cubicBezTo>
                  <a:pt x="900" y="2414"/>
                  <a:pt x="1057" y="2446"/>
                  <a:pt x="1223" y="2446"/>
                </a:cubicBezTo>
                <a:cubicBezTo>
                  <a:pt x="1389" y="2446"/>
                  <a:pt x="1547" y="2413"/>
                  <a:pt x="1698" y="2349"/>
                </a:cubicBezTo>
                <a:cubicBezTo>
                  <a:pt x="2002" y="2219"/>
                  <a:pt x="2221" y="1999"/>
                  <a:pt x="2350" y="1698"/>
                </a:cubicBezTo>
                <a:cubicBezTo>
                  <a:pt x="2415" y="1547"/>
                  <a:pt x="2448" y="1388"/>
                  <a:pt x="2448" y="1222"/>
                </a:cubicBezTo>
                <a:cubicBezTo>
                  <a:pt x="2448" y="1056"/>
                  <a:pt x="2415" y="898"/>
                  <a:pt x="2350" y="747"/>
                </a:cubicBezTo>
                <a:close/>
                <a:moveTo>
                  <a:pt x="816" y="227"/>
                </a:moveTo>
                <a:cubicBezTo>
                  <a:pt x="711" y="361"/>
                  <a:pt x="633" y="531"/>
                  <a:pt x="584" y="737"/>
                </a:cubicBezTo>
                <a:cubicBezTo>
                  <a:pt x="264" y="737"/>
                  <a:pt x="264" y="737"/>
                  <a:pt x="264" y="737"/>
                </a:cubicBezTo>
                <a:cubicBezTo>
                  <a:pt x="381" y="508"/>
                  <a:pt x="580" y="325"/>
                  <a:pt x="816" y="227"/>
                </a:cubicBezTo>
                <a:close/>
                <a:moveTo>
                  <a:pt x="149" y="1222"/>
                </a:moveTo>
                <a:cubicBezTo>
                  <a:pt x="149" y="1105"/>
                  <a:pt x="167" y="993"/>
                  <a:pt x="203" y="884"/>
                </a:cubicBezTo>
                <a:cubicBezTo>
                  <a:pt x="554" y="884"/>
                  <a:pt x="554" y="884"/>
                  <a:pt x="554" y="884"/>
                </a:cubicBezTo>
                <a:cubicBezTo>
                  <a:pt x="537" y="998"/>
                  <a:pt x="529" y="1111"/>
                  <a:pt x="529" y="1222"/>
                </a:cubicBezTo>
                <a:cubicBezTo>
                  <a:pt x="529" y="1331"/>
                  <a:pt x="537" y="1443"/>
                  <a:pt x="554" y="1556"/>
                </a:cubicBezTo>
                <a:cubicBezTo>
                  <a:pt x="201" y="1556"/>
                  <a:pt x="201" y="1556"/>
                  <a:pt x="201" y="1556"/>
                </a:cubicBezTo>
                <a:cubicBezTo>
                  <a:pt x="166" y="1448"/>
                  <a:pt x="149" y="1335"/>
                  <a:pt x="149" y="1222"/>
                </a:cubicBezTo>
                <a:close/>
                <a:moveTo>
                  <a:pt x="264" y="1704"/>
                </a:moveTo>
                <a:cubicBezTo>
                  <a:pt x="584" y="1704"/>
                  <a:pt x="584" y="1704"/>
                  <a:pt x="584" y="1704"/>
                </a:cubicBezTo>
                <a:cubicBezTo>
                  <a:pt x="633" y="1914"/>
                  <a:pt x="711" y="2086"/>
                  <a:pt x="816" y="2219"/>
                </a:cubicBezTo>
                <a:cubicBezTo>
                  <a:pt x="576" y="2118"/>
                  <a:pt x="377" y="1935"/>
                  <a:pt x="264" y="1704"/>
                </a:cubicBezTo>
                <a:close/>
                <a:moveTo>
                  <a:pt x="1148" y="2286"/>
                </a:moveTo>
                <a:cubicBezTo>
                  <a:pt x="1061" y="2260"/>
                  <a:pt x="980" y="2196"/>
                  <a:pt x="906" y="2092"/>
                </a:cubicBezTo>
                <a:cubicBezTo>
                  <a:pt x="833" y="1987"/>
                  <a:pt x="776" y="1857"/>
                  <a:pt x="737" y="1704"/>
                </a:cubicBezTo>
                <a:cubicBezTo>
                  <a:pt x="1148" y="1704"/>
                  <a:pt x="1148" y="1704"/>
                  <a:pt x="1148" y="1704"/>
                </a:cubicBezTo>
                <a:lnTo>
                  <a:pt x="1148" y="2286"/>
                </a:lnTo>
                <a:close/>
                <a:moveTo>
                  <a:pt x="1148" y="1556"/>
                </a:moveTo>
                <a:cubicBezTo>
                  <a:pt x="704" y="1556"/>
                  <a:pt x="704" y="1556"/>
                  <a:pt x="704" y="1556"/>
                </a:cubicBezTo>
                <a:cubicBezTo>
                  <a:pt x="687" y="1437"/>
                  <a:pt x="677" y="1326"/>
                  <a:pt x="677" y="1222"/>
                </a:cubicBezTo>
                <a:cubicBezTo>
                  <a:pt x="677" y="1109"/>
                  <a:pt x="687" y="997"/>
                  <a:pt x="707" y="884"/>
                </a:cubicBezTo>
                <a:cubicBezTo>
                  <a:pt x="1148" y="884"/>
                  <a:pt x="1148" y="884"/>
                  <a:pt x="1148" y="884"/>
                </a:cubicBezTo>
                <a:cubicBezTo>
                  <a:pt x="1148" y="1556"/>
                  <a:pt x="1148" y="1556"/>
                  <a:pt x="1148" y="1556"/>
                </a:cubicBezTo>
                <a:close/>
                <a:moveTo>
                  <a:pt x="1148" y="737"/>
                </a:moveTo>
                <a:cubicBezTo>
                  <a:pt x="737" y="737"/>
                  <a:pt x="737" y="737"/>
                  <a:pt x="737" y="737"/>
                </a:cubicBezTo>
                <a:cubicBezTo>
                  <a:pt x="779" y="585"/>
                  <a:pt x="836" y="456"/>
                  <a:pt x="909" y="353"/>
                </a:cubicBezTo>
                <a:cubicBezTo>
                  <a:pt x="983" y="249"/>
                  <a:pt x="1061" y="184"/>
                  <a:pt x="1148" y="160"/>
                </a:cubicBezTo>
                <a:cubicBezTo>
                  <a:pt x="1148" y="737"/>
                  <a:pt x="1148" y="737"/>
                  <a:pt x="1148" y="737"/>
                </a:cubicBezTo>
                <a:close/>
                <a:moveTo>
                  <a:pt x="2184" y="737"/>
                </a:moveTo>
                <a:cubicBezTo>
                  <a:pt x="1864" y="737"/>
                  <a:pt x="1864" y="737"/>
                  <a:pt x="1864" y="737"/>
                </a:cubicBezTo>
                <a:cubicBezTo>
                  <a:pt x="1815" y="531"/>
                  <a:pt x="1737" y="361"/>
                  <a:pt x="1632" y="227"/>
                </a:cubicBezTo>
                <a:cubicBezTo>
                  <a:pt x="1868" y="325"/>
                  <a:pt x="2067" y="508"/>
                  <a:pt x="2184" y="737"/>
                </a:cubicBezTo>
                <a:close/>
                <a:moveTo>
                  <a:pt x="1300" y="160"/>
                </a:moveTo>
                <a:cubicBezTo>
                  <a:pt x="1387" y="184"/>
                  <a:pt x="1465" y="249"/>
                  <a:pt x="1539" y="353"/>
                </a:cubicBezTo>
                <a:cubicBezTo>
                  <a:pt x="1613" y="456"/>
                  <a:pt x="1669" y="585"/>
                  <a:pt x="1711" y="737"/>
                </a:cubicBezTo>
                <a:cubicBezTo>
                  <a:pt x="1300" y="737"/>
                  <a:pt x="1300" y="737"/>
                  <a:pt x="1300" y="737"/>
                </a:cubicBezTo>
                <a:lnTo>
                  <a:pt x="1300" y="160"/>
                </a:lnTo>
                <a:close/>
                <a:moveTo>
                  <a:pt x="1300" y="884"/>
                </a:moveTo>
                <a:cubicBezTo>
                  <a:pt x="1741" y="884"/>
                  <a:pt x="1741" y="884"/>
                  <a:pt x="1741" y="884"/>
                </a:cubicBezTo>
                <a:cubicBezTo>
                  <a:pt x="1761" y="997"/>
                  <a:pt x="1771" y="1109"/>
                  <a:pt x="1771" y="1222"/>
                </a:cubicBezTo>
                <a:cubicBezTo>
                  <a:pt x="1771" y="1326"/>
                  <a:pt x="1761" y="1437"/>
                  <a:pt x="1744" y="1556"/>
                </a:cubicBezTo>
                <a:cubicBezTo>
                  <a:pt x="1300" y="1556"/>
                  <a:pt x="1300" y="1556"/>
                  <a:pt x="1300" y="1556"/>
                </a:cubicBezTo>
                <a:lnTo>
                  <a:pt x="1300" y="884"/>
                </a:lnTo>
                <a:close/>
                <a:moveTo>
                  <a:pt x="1300" y="2286"/>
                </a:moveTo>
                <a:cubicBezTo>
                  <a:pt x="1300" y="1704"/>
                  <a:pt x="1300" y="1704"/>
                  <a:pt x="1300" y="1704"/>
                </a:cubicBezTo>
                <a:cubicBezTo>
                  <a:pt x="1711" y="1704"/>
                  <a:pt x="1711" y="1704"/>
                  <a:pt x="1711" y="1704"/>
                </a:cubicBezTo>
                <a:cubicBezTo>
                  <a:pt x="1670" y="1857"/>
                  <a:pt x="1613" y="1987"/>
                  <a:pt x="1541" y="2092"/>
                </a:cubicBezTo>
                <a:cubicBezTo>
                  <a:pt x="1467" y="2197"/>
                  <a:pt x="1388" y="2262"/>
                  <a:pt x="1300" y="2286"/>
                </a:cubicBezTo>
                <a:close/>
                <a:moveTo>
                  <a:pt x="1632" y="2219"/>
                </a:moveTo>
                <a:cubicBezTo>
                  <a:pt x="1737" y="2086"/>
                  <a:pt x="1815" y="1914"/>
                  <a:pt x="1864" y="1704"/>
                </a:cubicBezTo>
                <a:cubicBezTo>
                  <a:pt x="2184" y="1704"/>
                  <a:pt x="2184" y="1704"/>
                  <a:pt x="2184" y="1704"/>
                </a:cubicBezTo>
                <a:cubicBezTo>
                  <a:pt x="2071" y="1935"/>
                  <a:pt x="1872" y="2118"/>
                  <a:pt x="1632" y="2219"/>
                </a:cubicBezTo>
                <a:close/>
                <a:moveTo>
                  <a:pt x="2247" y="1556"/>
                </a:moveTo>
                <a:cubicBezTo>
                  <a:pt x="1894" y="1556"/>
                  <a:pt x="1894" y="1556"/>
                  <a:pt x="1894" y="1556"/>
                </a:cubicBezTo>
                <a:cubicBezTo>
                  <a:pt x="1911" y="1443"/>
                  <a:pt x="1919" y="1331"/>
                  <a:pt x="1919" y="1222"/>
                </a:cubicBezTo>
                <a:cubicBezTo>
                  <a:pt x="1919" y="1111"/>
                  <a:pt x="1911" y="998"/>
                  <a:pt x="1894" y="884"/>
                </a:cubicBezTo>
                <a:cubicBezTo>
                  <a:pt x="2245" y="884"/>
                  <a:pt x="2245" y="884"/>
                  <a:pt x="2245" y="884"/>
                </a:cubicBezTo>
                <a:cubicBezTo>
                  <a:pt x="2281" y="993"/>
                  <a:pt x="2299" y="1105"/>
                  <a:pt x="2299" y="1222"/>
                </a:cubicBezTo>
                <a:cubicBezTo>
                  <a:pt x="2299" y="1335"/>
                  <a:pt x="2282" y="1448"/>
                  <a:pt x="2247" y="15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4" name="ZenIcon1">
            <a:extLst>
              <a:ext uri="{FF2B5EF4-FFF2-40B4-BE49-F238E27FC236}">
                <a16:creationId xmlns:a16="http://schemas.microsoft.com/office/drawing/2014/main" id="{FD1E8A37-896E-BDA5-4486-8D9829E3DAC1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5716552" y="3130252"/>
            <a:ext cx="452757" cy="452757"/>
            <a:chOff x="5712408" y="975680"/>
            <a:chExt cx="671729" cy="639391"/>
          </a:xfrm>
        </p:grpSpPr>
        <p:sp>
          <p:nvSpPr>
            <p:cNvPr id="25" name="Freeform 26">
              <a:extLst>
                <a:ext uri="{FF2B5EF4-FFF2-40B4-BE49-F238E27FC236}">
                  <a16:creationId xmlns:a16="http://schemas.microsoft.com/office/drawing/2014/main" id="{69F8B21F-9079-6DE0-F39B-5614429BFB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2408" y="975680"/>
              <a:ext cx="671729" cy="639391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6" name="Freeform 27">
              <a:extLst>
                <a:ext uri="{FF2B5EF4-FFF2-40B4-BE49-F238E27FC236}">
                  <a16:creationId xmlns:a16="http://schemas.microsoft.com/office/drawing/2014/main" id="{C4E871D9-F928-0AF9-21E8-44B0755498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6917" y="1058042"/>
              <a:ext cx="502713" cy="338119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7" name="Freeform 28">
              <a:extLst>
                <a:ext uri="{FF2B5EF4-FFF2-40B4-BE49-F238E27FC236}">
                  <a16:creationId xmlns:a16="http://schemas.microsoft.com/office/drawing/2014/main" id="{7E213677-07BC-E20B-EAAF-081A1DABBA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7937" y="1404831"/>
              <a:ext cx="62840" cy="65023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8" name="Freeform 29">
              <a:extLst>
                <a:ext uri="{FF2B5EF4-FFF2-40B4-BE49-F238E27FC236}">
                  <a16:creationId xmlns:a16="http://schemas.microsoft.com/office/drawing/2014/main" id="{A9A4A3FF-93A0-665A-7BB3-C4B4DE28AF4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3429" y="1190255"/>
              <a:ext cx="84509" cy="88864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9" name="Freeform 30">
              <a:extLst>
                <a:ext uri="{FF2B5EF4-FFF2-40B4-BE49-F238E27FC236}">
                  <a16:creationId xmlns:a16="http://schemas.microsoft.com/office/drawing/2014/main" id="{D9B13DDE-746C-DEAE-E8EC-DE262BDA4FF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6605" y="1175084"/>
              <a:ext cx="43337" cy="119208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30" name="Freeform 31">
              <a:extLst>
                <a:ext uri="{FF2B5EF4-FFF2-40B4-BE49-F238E27FC236}">
                  <a16:creationId xmlns:a16="http://schemas.microsoft.com/office/drawing/2014/main" id="{C0394858-0566-0C38-6744-5C273E2B3B8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776" y="1190255"/>
              <a:ext cx="82341" cy="88864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</p:grpSp>
      <p:sp>
        <p:nvSpPr>
          <p:cNvPr id="31" name="ZenIcon2">
            <a:extLst>
              <a:ext uri="{FF2B5EF4-FFF2-40B4-BE49-F238E27FC236}">
                <a16:creationId xmlns:a16="http://schemas.microsoft.com/office/drawing/2014/main" id="{091D5DC1-5A48-0668-2F23-DFE1192E3EE7}"/>
              </a:ext>
            </a:extLst>
          </p:cNvPr>
          <p:cNvSpPr>
            <a:spLocks noChangeAspect="1" noEditPoints="1"/>
          </p:cNvSpPr>
          <p:nvPr>
            <p:custDataLst>
              <p:tags r:id="rId6"/>
            </p:custDataLst>
          </p:nvPr>
        </p:nvSpPr>
        <p:spPr bwMode="auto">
          <a:xfrm>
            <a:off x="6980119" y="3367254"/>
            <a:ext cx="452757" cy="452757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/>
          </a:p>
        </p:txBody>
      </p:sp>
      <p:grpSp>
        <p:nvGrpSpPr>
          <p:cNvPr id="32" name="ZenIcon4">
            <a:extLst>
              <a:ext uri="{FF2B5EF4-FFF2-40B4-BE49-F238E27FC236}">
                <a16:creationId xmlns:a16="http://schemas.microsoft.com/office/drawing/2014/main" id="{00B904BF-8DD7-B466-CB07-4D6088F8AFE4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>
          <a:xfrm>
            <a:off x="7929712" y="4098465"/>
            <a:ext cx="452757" cy="452757"/>
            <a:chOff x="-4769427" y="-314325"/>
            <a:chExt cx="4660901" cy="4576762"/>
          </a:xfrm>
        </p:grpSpPr>
        <p:sp>
          <p:nvSpPr>
            <p:cNvPr id="33" name="Freeform 23">
              <a:extLst>
                <a:ext uri="{FF2B5EF4-FFF2-40B4-BE49-F238E27FC236}">
                  <a16:creationId xmlns:a16="http://schemas.microsoft.com/office/drawing/2014/main" id="{4BF4BFBE-DF8B-87EF-1637-D83236B851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509077" y="-314325"/>
              <a:ext cx="4138613" cy="3956050"/>
            </a:xfrm>
            <a:custGeom>
              <a:avLst/>
              <a:gdLst>
                <a:gd name="T0" fmla="*/ 2128 w 2188"/>
                <a:gd name="T1" fmla="*/ 946 h 2085"/>
                <a:gd name="T2" fmla="*/ 2169 w 2188"/>
                <a:gd name="T3" fmla="*/ 781 h 2085"/>
                <a:gd name="T4" fmla="*/ 2038 w 2188"/>
                <a:gd name="T5" fmla="*/ 671 h 2085"/>
                <a:gd name="T6" fmla="*/ 1503 w 2188"/>
                <a:gd name="T7" fmla="*/ 593 h 2085"/>
                <a:gd name="T8" fmla="*/ 1478 w 2188"/>
                <a:gd name="T9" fmla="*/ 576 h 2085"/>
                <a:gd name="T10" fmla="*/ 1239 w 2188"/>
                <a:gd name="T11" fmla="*/ 90 h 2085"/>
                <a:gd name="T12" fmla="*/ 1094 w 2188"/>
                <a:gd name="T13" fmla="*/ 0 h 2085"/>
                <a:gd name="T14" fmla="*/ 949 w 2188"/>
                <a:gd name="T15" fmla="*/ 90 h 2085"/>
                <a:gd name="T16" fmla="*/ 710 w 2188"/>
                <a:gd name="T17" fmla="*/ 576 h 2085"/>
                <a:gd name="T18" fmla="*/ 685 w 2188"/>
                <a:gd name="T19" fmla="*/ 593 h 2085"/>
                <a:gd name="T20" fmla="*/ 150 w 2188"/>
                <a:gd name="T21" fmla="*/ 671 h 2085"/>
                <a:gd name="T22" fmla="*/ 19 w 2188"/>
                <a:gd name="T23" fmla="*/ 781 h 2085"/>
                <a:gd name="T24" fmla="*/ 60 w 2188"/>
                <a:gd name="T25" fmla="*/ 946 h 2085"/>
                <a:gd name="T26" fmla="*/ 448 w 2188"/>
                <a:gd name="T27" fmla="*/ 1324 h 2085"/>
                <a:gd name="T28" fmla="*/ 457 w 2188"/>
                <a:gd name="T29" fmla="*/ 1353 h 2085"/>
                <a:gd name="T30" fmla="*/ 366 w 2188"/>
                <a:gd name="T31" fmla="*/ 1886 h 2085"/>
                <a:gd name="T32" fmla="*/ 430 w 2188"/>
                <a:gd name="T33" fmla="*/ 2044 h 2085"/>
                <a:gd name="T34" fmla="*/ 600 w 2188"/>
                <a:gd name="T35" fmla="*/ 2056 h 2085"/>
                <a:gd name="T36" fmla="*/ 1079 w 2188"/>
                <a:gd name="T37" fmla="*/ 1805 h 2085"/>
                <a:gd name="T38" fmla="*/ 1109 w 2188"/>
                <a:gd name="T39" fmla="*/ 1805 h 2085"/>
                <a:gd name="T40" fmla="*/ 1588 w 2188"/>
                <a:gd name="T41" fmla="*/ 2056 h 2085"/>
                <a:gd name="T42" fmla="*/ 1663 w 2188"/>
                <a:gd name="T43" fmla="*/ 2075 h 2085"/>
                <a:gd name="T44" fmla="*/ 1758 w 2188"/>
                <a:gd name="T45" fmla="*/ 2044 h 2085"/>
                <a:gd name="T46" fmla="*/ 1822 w 2188"/>
                <a:gd name="T47" fmla="*/ 1886 h 2085"/>
                <a:gd name="T48" fmla="*/ 1731 w 2188"/>
                <a:gd name="T49" fmla="*/ 1353 h 2085"/>
                <a:gd name="T50" fmla="*/ 1740 w 2188"/>
                <a:gd name="T51" fmla="*/ 1324 h 2085"/>
                <a:gd name="T52" fmla="*/ 2128 w 2188"/>
                <a:gd name="T53" fmla="*/ 946 h 2085"/>
                <a:gd name="T54" fmla="*/ 1604 w 2188"/>
                <a:gd name="T55" fmla="*/ 1375 h 2085"/>
                <a:gd name="T56" fmla="*/ 1695 w 2188"/>
                <a:gd name="T57" fmla="*/ 1908 h 2085"/>
                <a:gd name="T58" fmla="*/ 1682 w 2188"/>
                <a:gd name="T59" fmla="*/ 1940 h 2085"/>
                <a:gd name="T60" fmla="*/ 1648 w 2188"/>
                <a:gd name="T61" fmla="*/ 1942 h 2085"/>
                <a:gd name="T62" fmla="*/ 1169 w 2188"/>
                <a:gd name="T63" fmla="*/ 1690 h 2085"/>
                <a:gd name="T64" fmla="*/ 1094 w 2188"/>
                <a:gd name="T65" fmla="*/ 1672 h 2085"/>
                <a:gd name="T66" fmla="*/ 1019 w 2188"/>
                <a:gd name="T67" fmla="*/ 1690 h 2085"/>
                <a:gd name="T68" fmla="*/ 540 w 2188"/>
                <a:gd name="T69" fmla="*/ 1942 h 2085"/>
                <a:gd name="T70" fmla="*/ 506 w 2188"/>
                <a:gd name="T71" fmla="*/ 1940 h 2085"/>
                <a:gd name="T72" fmla="*/ 493 w 2188"/>
                <a:gd name="T73" fmla="*/ 1908 h 2085"/>
                <a:gd name="T74" fmla="*/ 584 w 2188"/>
                <a:gd name="T75" fmla="*/ 1375 h 2085"/>
                <a:gd name="T76" fmla="*/ 538 w 2188"/>
                <a:gd name="T77" fmla="*/ 1232 h 2085"/>
                <a:gd name="T78" fmla="*/ 150 w 2188"/>
                <a:gd name="T79" fmla="*/ 854 h 2085"/>
                <a:gd name="T80" fmla="*/ 142 w 2188"/>
                <a:gd name="T81" fmla="*/ 821 h 2085"/>
                <a:gd name="T82" fmla="*/ 168 w 2188"/>
                <a:gd name="T83" fmla="*/ 799 h 2085"/>
                <a:gd name="T84" fmla="*/ 704 w 2188"/>
                <a:gd name="T85" fmla="*/ 721 h 2085"/>
                <a:gd name="T86" fmla="*/ 826 w 2188"/>
                <a:gd name="T87" fmla="*/ 633 h 2085"/>
                <a:gd name="T88" fmla="*/ 1065 w 2188"/>
                <a:gd name="T89" fmla="*/ 147 h 2085"/>
                <a:gd name="T90" fmla="*/ 1094 w 2188"/>
                <a:gd name="T91" fmla="*/ 129 h 2085"/>
                <a:gd name="T92" fmla="*/ 1123 w 2188"/>
                <a:gd name="T93" fmla="*/ 147 h 2085"/>
                <a:gd name="T94" fmla="*/ 1123 w 2188"/>
                <a:gd name="T95" fmla="*/ 147 h 2085"/>
                <a:gd name="T96" fmla="*/ 1363 w 2188"/>
                <a:gd name="T97" fmla="*/ 633 h 2085"/>
                <a:gd name="T98" fmla="*/ 1484 w 2188"/>
                <a:gd name="T99" fmla="*/ 721 h 2085"/>
                <a:gd name="T100" fmla="*/ 2020 w 2188"/>
                <a:gd name="T101" fmla="*/ 799 h 2085"/>
                <a:gd name="T102" fmla="*/ 2046 w 2188"/>
                <a:gd name="T103" fmla="*/ 821 h 2085"/>
                <a:gd name="T104" fmla="*/ 2038 w 2188"/>
                <a:gd name="T105" fmla="*/ 854 h 2085"/>
                <a:gd name="T106" fmla="*/ 1650 w 2188"/>
                <a:gd name="T107" fmla="*/ 1232 h 2085"/>
                <a:gd name="T108" fmla="*/ 1604 w 2188"/>
                <a:gd name="T109" fmla="*/ 1375 h 20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188" h="2085">
                  <a:moveTo>
                    <a:pt x="2128" y="946"/>
                  </a:moveTo>
                  <a:cubicBezTo>
                    <a:pt x="2172" y="903"/>
                    <a:pt x="2188" y="840"/>
                    <a:pt x="2169" y="781"/>
                  </a:cubicBezTo>
                  <a:cubicBezTo>
                    <a:pt x="2149" y="722"/>
                    <a:pt x="2100" y="680"/>
                    <a:pt x="2038" y="671"/>
                  </a:cubicBezTo>
                  <a:cubicBezTo>
                    <a:pt x="1503" y="593"/>
                    <a:pt x="1503" y="593"/>
                    <a:pt x="1503" y="593"/>
                  </a:cubicBezTo>
                  <a:cubicBezTo>
                    <a:pt x="1492" y="592"/>
                    <a:pt x="1483" y="585"/>
                    <a:pt x="1478" y="576"/>
                  </a:cubicBezTo>
                  <a:cubicBezTo>
                    <a:pt x="1239" y="90"/>
                    <a:pt x="1239" y="90"/>
                    <a:pt x="1239" y="90"/>
                  </a:cubicBezTo>
                  <a:cubicBezTo>
                    <a:pt x="1211" y="35"/>
                    <a:pt x="1156" y="0"/>
                    <a:pt x="1094" y="0"/>
                  </a:cubicBezTo>
                  <a:cubicBezTo>
                    <a:pt x="1032" y="0"/>
                    <a:pt x="977" y="35"/>
                    <a:pt x="949" y="90"/>
                  </a:cubicBezTo>
                  <a:cubicBezTo>
                    <a:pt x="710" y="576"/>
                    <a:pt x="710" y="576"/>
                    <a:pt x="710" y="576"/>
                  </a:cubicBezTo>
                  <a:cubicBezTo>
                    <a:pt x="705" y="585"/>
                    <a:pt x="696" y="592"/>
                    <a:pt x="685" y="593"/>
                  </a:cubicBezTo>
                  <a:cubicBezTo>
                    <a:pt x="150" y="671"/>
                    <a:pt x="150" y="671"/>
                    <a:pt x="150" y="671"/>
                  </a:cubicBezTo>
                  <a:cubicBezTo>
                    <a:pt x="88" y="680"/>
                    <a:pt x="39" y="722"/>
                    <a:pt x="19" y="781"/>
                  </a:cubicBezTo>
                  <a:cubicBezTo>
                    <a:pt x="0" y="840"/>
                    <a:pt x="16" y="903"/>
                    <a:pt x="60" y="946"/>
                  </a:cubicBezTo>
                  <a:cubicBezTo>
                    <a:pt x="448" y="1324"/>
                    <a:pt x="448" y="1324"/>
                    <a:pt x="448" y="1324"/>
                  </a:cubicBezTo>
                  <a:cubicBezTo>
                    <a:pt x="455" y="1332"/>
                    <a:pt x="459" y="1342"/>
                    <a:pt x="457" y="1353"/>
                  </a:cubicBezTo>
                  <a:cubicBezTo>
                    <a:pt x="366" y="1886"/>
                    <a:pt x="366" y="1886"/>
                    <a:pt x="366" y="1886"/>
                  </a:cubicBezTo>
                  <a:cubicBezTo>
                    <a:pt x="355" y="1947"/>
                    <a:pt x="380" y="2008"/>
                    <a:pt x="430" y="2044"/>
                  </a:cubicBezTo>
                  <a:cubicBezTo>
                    <a:pt x="480" y="2081"/>
                    <a:pt x="545" y="2085"/>
                    <a:pt x="600" y="2056"/>
                  </a:cubicBezTo>
                  <a:cubicBezTo>
                    <a:pt x="1079" y="1805"/>
                    <a:pt x="1079" y="1805"/>
                    <a:pt x="1079" y="1805"/>
                  </a:cubicBezTo>
                  <a:cubicBezTo>
                    <a:pt x="1088" y="1800"/>
                    <a:pt x="1100" y="1800"/>
                    <a:pt x="1109" y="1805"/>
                  </a:cubicBezTo>
                  <a:cubicBezTo>
                    <a:pt x="1588" y="2056"/>
                    <a:pt x="1588" y="2056"/>
                    <a:pt x="1588" y="2056"/>
                  </a:cubicBezTo>
                  <a:cubicBezTo>
                    <a:pt x="1612" y="2069"/>
                    <a:pt x="1638" y="2075"/>
                    <a:pt x="1663" y="2075"/>
                  </a:cubicBezTo>
                  <a:cubicBezTo>
                    <a:pt x="1697" y="2075"/>
                    <a:pt x="1730" y="2065"/>
                    <a:pt x="1758" y="2044"/>
                  </a:cubicBezTo>
                  <a:cubicBezTo>
                    <a:pt x="1808" y="2008"/>
                    <a:pt x="1833" y="1947"/>
                    <a:pt x="1822" y="1886"/>
                  </a:cubicBezTo>
                  <a:cubicBezTo>
                    <a:pt x="1731" y="1353"/>
                    <a:pt x="1731" y="1353"/>
                    <a:pt x="1731" y="1353"/>
                  </a:cubicBezTo>
                  <a:cubicBezTo>
                    <a:pt x="1729" y="1342"/>
                    <a:pt x="1733" y="1332"/>
                    <a:pt x="1740" y="1324"/>
                  </a:cubicBezTo>
                  <a:lnTo>
                    <a:pt x="2128" y="946"/>
                  </a:lnTo>
                  <a:close/>
                  <a:moveTo>
                    <a:pt x="1604" y="1375"/>
                  </a:moveTo>
                  <a:cubicBezTo>
                    <a:pt x="1695" y="1908"/>
                    <a:pt x="1695" y="1908"/>
                    <a:pt x="1695" y="1908"/>
                  </a:cubicBezTo>
                  <a:cubicBezTo>
                    <a:pt x="1698" y="1926"/>
                    <a:pt x="1687" y="1936"/>
                    <a:pt x="1682" y="1940"/>
                  </a:cubicBezTo>
                  <a:cubicBezTo>
                    <a:pt x="1677" y="1943"/>
                    <a:pt x="1664" y="1951"/>
                    <a:pt x="1648" y="1942"/>
                  </a:cubicBezTo>
                  <a:cubicBezTo>
                    <a:pt x="1169" y="1690"/>
                    <a:pt x="1169" y="1690"/>
                    <a:pt x="1169" y="1690"/>
                  </a:cubicBezTo>
                  <a:cubicBezTo>
                    <a:pt x="1146" y="1678"/>
                    <a:pt x="1120" y="1672"/>
                    <a:pt x="1094" y="1672"/>
                  </a:cubicBezTo>
                  <a:cubicBezTo>
                    <a:pt x="1068" y="1672"/>
                    <a:pt x="1042" y="1678"/>
                    <a:pt x="1019" y="1690"/>
                  </a:cubicBezTo>
                  <a:cubicBezTo>
                    <a:pt x="540" y="1942"/>
                    <a:pt x="540" y="1942"/>
                    <a:pt x="540" y="1942"/>
                  </a:cubicBezTo>
                  <a:cubicBezTo>
                    <a:pt x="524" y="1951"/>
                    <a:pt x="511" y="1943"/>
                    <a:pt x="506" y="1940"/>
                  </a:cubicBezTo>
                  <a:cubicBezTo>
                    <a:pt x="501" y="1936"/>
                    <a:pt x="490" y="1926"/>
                    <a:pt x="493" y="1908"/>
                  </a:cubicBezTo>
                  <a:cubicBezTo>
                    <a:pt x="584" y="1375"/>
                    <a:pt x="584" y="1375"/>
                    <a:pt x="584" y="1375"/>
                  </a:cubicBezTo>
                  <a:cubicBezTo>
                    <a:pt x="593" y="1322"/>
                    <a:pt x="576" y="1269"/>
                    <a:pt x="538" y="1232"/>
                  </a:cubicBezTo>
                  <a:cubicBezTo>
                    <a:pt x="150" y="854"/>
                    <a:pt x="150" y="854"/>
                    <a:pt x="150" y="854"/>
                  </a:cubicBezTo>
                  <a:cubicBezTo>
                    <a:pt x="137" y="841"/>
                    <a:pt x="140" y="827"/>
                    <a:pt x="142" y="821"/>
                  </a:cubicBezTo>
                  <a:cubicBezTo>
                    <a:pt x="144" y="815"/>
                    <a:pt x="150" y="801"/>
                    <a:pt x="168" y="799"/>
                  </a:cubicBezTo>
                  <a:cubicBezTo>
                    <a:pt x="704" y="721"/>
                    <a:pt x="704" y="721"/>
                    <a:pt x="704" y="721"/>
                  </a:cubicBezTo>
                  <a:cubicBezTo>
                    <a:pt x="757" y="713"/>
                    <a:pt x="802" y="680"/>
                    <a:pt x="826" y="633"/>
                  </a:cubicBezTo>
                  <a:cubicBezTo>
                    <a:pt x="1065" y="147"/>
                    <a:pt x="1065" y="147"/>
                    <a:pt x="1065" y="147"/>
                  </a:cubicBezTo>
                  <a:cubicBezTo>
                    <a:pt x="1073" y="131"/>
                    <a:pt x="1088" y="129"/>
                    <a:pt x="1094" y="129"/>
                  </a:cubicBezTo>
                  <a:cubicBezTo>
                    <a:pt x="1100" y="129"/>
                    <a:pt x="1115" y="131"/>
                    <a:pt x="1123" y="147"/>
                  </a:cubicBezTo>
                  <a:cubicBezTo>
                    <a:pt x="1123" y="147"/>
                    <a:pt x="1123" y="147"/>
                    <a:pt x="1123" y="147"/>
                  </a:cubicBezTo>
                  <a:cubicBezTo>
                    <a:pt x="1363" y="633"/>
                    <a:pt x="1363" y="633"/>
                    <a:pt x="1363" y="633"/>
                  </a:cubicBezTo>
                  <a:cubicBezTo>
                    <a:pt x="1386" y="680"/>
                    <a:pt x="1431" y="713"/>
                    <a:pt x="1484" y="721"/>
                  </a:cubicBezTo>
                  <a:cubicBezTo>
                    <a:pt x="2020" y="799"/>
                    <a:pt x="2020" y="799"/>
                    <a:pt x="2020" y="799"/>
                  </a:cubicBezTo>
                  <a:cubicBezTo>
                    <a:pt x="2038" y="801"/>
                    <a:pt x="2044" y="815"/>
                    <a:pt x="2046" y="821"/>
                  </a:cubicBezTo>
                  <a:cubicBezTo>
                    <a:pt x="2048" y="827"/>
                    <a:pt x="2051" y="841"/>
                    <a:pt x="2038" y="854"/>
                  </a:cubicBezTo>
                  <a:cubicBezTo>
                    <a:pt x="1650" y="1232"/>
                    <a:pt x="1650" y="1232"/>
                    <a:pt x="1650" y="1232"/>
                  </a:cubicBezTo>
                  <a:cubicBezTo>
                    <a:pt x="1612" y="1269"/>
                    <a:pt x="1595" y="1322"/>
                    <a:pt x="1604" y="137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4">
              <a:extLst>
                <a:ext uri="{FF2B5EF4-FFF2-40B4-BE49-F238E27FC236}">
                  <a16:creationId xmlns:a16="http://schemas.microsoft.com/office/drawing/2014/main" id="{415FD291-137C-D2D2-BFC0-4CB3EDF19181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51539" y="-182563"/>
              <a:ext cx="406400" cy="439738"/>
            </a:xfrm>
            <a:custGeom>
              <a:avLst/>
              <a:gdLst>
                <a:gd name="T0" fmla="*/ 179 w 215"/>
                <a:gd name="T1" fmla="*/ 21 h 232"/>
                <a:gd name="T2" fmla="*/ 89 w 215"/>
                <a:gd name="T3" fmla="*/ 35 h 232"/>
                <a:gd name="T4" fmla="*/ 21 w 215"/>
                <a:gd name="T5" fmla="*/ 130 h 232"/>
                <a:gd name="T6" fmla="*/ 35 w 215"/>
                <a:gd name="T7" fmla="*/ 220 h 232"/>
                <a:gd name="T8" fmla="*/ 73 w 215"/>
                <a:gd name="T9" fmla="*/ 232 h 232"/>
                <a:gd name="T10" fmla="*/ 125 w 215"/>
                <a:gd name="T11" fmla="*/ 206 h 232"/>
                <a:gd name="T12" fmla="*/ 194 w 215"/>
                <a:gd name="T13" fmla="*/ 111 h 232"/>
                <a:gd name="T14" fmla="*/ 179 w 215"/>
                <a:gd name="T15" fmla="*/ 2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5" h="232">
                  <a:moveTo>
                    <a:pt x="179" y="21"/>
                  </a:moveTo>
                  <a:cubicBezTo>
                    <a:pt x="151" y="0"/>
                    <a:pt x="110" y="7"/>
                    <a:pt x="89" y="35"/>
                  </a:cubicBezTo>
                  <a:cubicBezTo>
                    <a:pt x="21" y="130"/>
                    <a:pt x="21" y="130"/>
                    <a:pt x="21" y="130"/>
                  </a:cubicBezTo>
                  <a:cubicBezTo>
                    <a:pt x="0" y="159"/>
                    <a:pt x="6" y="199"/>
                    <a:pt x="35" y="220"/>
                  </a:cubicBezTo>
                  <a:cubicBezTo>
                    <a:pt x="46" y="228"/>
                    <a:pt x="60" y="232"/>
                    <a:pt x="73" y="232"/>
                  </a:cubicBezTo>
                  <a:cubicBezTo>
                    <a:pt x="93" y="232"/>
                    <a:pt x="113" y="223"/>
                    <a:pt x="125" y="206"/>
                  </a:cubicBezTo>
                  <a:cubicBezTo>
                    <a:pt x="194" y="111"/>
                    <a:pt x="194" y="111"/>
                    <a:pt x="194" y="111"/>
                  </a:cubicBezTo>
                  <a:cubicBezTo>
                    <a:pt x="215" y="83"/>
                    <a:pt x="208" y="42"/>
                    <a:pt x="179" y="2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5">
              <a:extLst>
                <a:ext uri="{FF2B5EF4-FFF2-40B4-BE49-F238E27FC236}">
                  <a16:creationId xmlns:a16="http://schemas.microsoft.com/office/drawing/2014/main" id="{865F1A5C-E55C-61AF-5B6E-CCF8B6EC125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34402" y="-182563"/>
              <a:ext cx="407988" cy="439738"/>
            </a:xfrm>
            <a:custGeom>
              <a:avLst/>
              <a:gdLst>
                <a:gd name="T0" fmla="*/ 194 w 215"/>
                <a:gd name="T1" fmla="*/ 129 h 232"/>
                <a:gd name="T2" fmla="*/ 126 w 215"/>
                <a:gd name="T3" fmla="*/ 35 h 232"/>
                <a:gd name="T4" fmla="*/ 35 w 215"/>
                <a:gd name="T5" fmla="*/ 21 h 232"/>
                <a:gd name="T6" fmla="*/ 21 w 215"/>
                <a:gd name="T7" fmla="*/ 111 h 232"/>
                <a:gd name="T8" fmla="*/ 90 w 215"/>
                <a:gd name="T9" fmla="*/ 205 h 232"/>
                <a:gd name="T10" fmla="*/ 142 w 215"/>
                <a:gd name="T11" fmla="*/ 232 h 232"/>
                <a:gd name="T12" fmla="*/ 180 w 215"/>
                <a:gd name="T13" fmla="*/ 220 h 232"/>
                <a:gd name="T14" fmla="*/ 194 w 215"/>
                <a:gd name="T15" fmla="*/ 129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5" h="232">
                  <a:moveTo>
                    <a:pt x="194" y="129"/>
                  </a:moveTo>
                  <a:cubicBezTo>
                    <a:pt x="126" y="35"/>
                    <a:pt x="126" y="35"/>
                    <a:pt x="126" y="35"/>
                  </a:cubicBezTo>
                  <a:cubicBezTo>
                    <a:pt x="105" y="6"/>
                    <a:pt x="64" y="0"/>
                    <a:pt x="35" y="21"/>
                  </a:cubicBezTo>
                  <a:cubicBezTo>
                    <a:pt x="6" y="42"/>
                    <a:pt x="0" y="82"/>
                    <a:pt x="21" y="111"/>
                  </a:cubicBezTo>
                  <a:cubicBezTo>
                    <a:pt x="90" y="205"/>
                    <a:pt x="90" y="205"/>
                    <a:pt x="90" y="205"/>
                  </a:cubicBezTo>
                  <a:cubicBezTo>
                    <a:pt x="102" y="223"/>
                    <a:pt x="122" y="232"/>
                    <a:pt x="142" y="232"/>
                  </a:cubicBezTo>
                  <a:cubicBezTo>
                    <a:pt x="155" y="232"/>
                    <a:pt x="168" y="228"/>
                    <a:pt x="180" y="220"/>
                  </a:cubicBezTo>
                  <a:cubicBezTo>
                    <a:pt x="209" y="199"/>
                    <a:pt x="215" y="158"/>
                    <a:pt x="194" y="12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6">
              <a:extLst>
                <a:ext uri="{FF2B5EF4-FFF2-40B4-BE49-F238E27FC236}">
                  <a16:creationId xmlns:a16="http://schemas.microsoft.com/office/drawing/2014/main" id="{67512526-CB85-C3FA-FB1A-26C4470CD975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69427" y="2336800"/>
              <a:ext cx="484188" cy="328613"/>
            </a:xfrm>
            <a:custGeom>
              <a:avLst/>
              <a:gdLst>
                <a:gd name="T0" fmla="*/ 245 w 256"/>
                <a:gd name="T1" fmla="*/ 52 h 173"/>
                <a:gd name="T2" fmla="*/ 164 w 256"/>
                <a:gd name="T3" fmla="*/ 11 h 173"/>
                <a:gd name="T4" fmla="*/ 53 w 256"/>
                <a:gd name="T5" fmla="*/ 47 h 173"/>
                <a:gd name="T6" fmla="*/ 11 w 256"/>
                <a:gd name="T7" fmla="*/ 128 h 173"/>
                <a:gd name="T8" fmla="*/ 73 w 256"/>
                <a:gd name="T9" fmla="*/ 173 h 173"/>
                <a:gd name="T10" fmla="*/ 93 w 256"/>
                <a:gd name="T11" fmla="*/ 169 h 173"/>
                <a:gd name="T12" fmla="*/ 203 w 256"/>
                <a:gd name="T13" fmla="*/ 133 h 173"/>
                <a:gd name="T14" fmla="*/ 245 w 256"/>
                <a:gd name="T15" fmla="*/ 5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" h="173">
                  <a:moveTo>
                    <a:pt x="245" y="52"/>
                  </a:moveTo>
                  <a:cubicBezTo>
                    <a:pt x="234" y="18"/>
                    <a:pt x="197" y="0"/>
                    <a:pt x="164" y="11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19" y="58"/>
                    <a:pt x="0" y="94"/>
                    <a:pt x="11" y="128"/>
                  </a:cubicBezTo>
                  <a:cubicBezTo>
                    <a:pt x="20" y="155"/>
                    <a:pt x="45" y="173"/>
                    <a:pt x="73" y="173"/>
                  </a:cubicBezTo>
                  <a:cubicBezTo>
                    <a:pt x="79" y="173"/>
                    <a:pt x="86" y="172"/>
                    <a:pt x="93" y="169"/>
                  </a:cubicBezTo>
                  <a:cubicBezTo>
                    <a:pt x="203" y="133"/>
                    <a:pt x="203" y="133"/>
                    <a:pt x="203" y="133"/>
                  </a:cubicBezTo>
                  <a:cubicBezTo>
                    <a:pt x="237" y="122"/>
                    <a:pt x="256" y="86"/>
                    <a:pt x="245" y="5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7">
              <a:extLst>
                <a:ext uri="{FF2B5EF4-FFF2-40B4-BE49-F238E27FC236}">
                  <a16:creationId xmlns:a16="http://schemas.microsoft.com/office/drawing/2014/main" id="{8AEE7D55-0352-594B-95F1-E6D1D7ED4A06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62802" y="3795712"/>
              <a:ext cx="246063" cy="466725"/>
            </a:xfrm>
            <a:custGeom>
              <a:avLst/>
              <a:gdLst>
                <a:gd name="T0" fmla="*/ 65 w 130"/>
                <a:gd name="T1" fmla="*/ 0 h 246"/>
                <a:gd name="T2" fmla="*/ 0 w 130"/>
                <a:gd name="T3" fmla="*/ 65 h 246"/>
                <a:gd name="T4" fmla="*/ 0 w 130"/>
                <a:gd name="T5" fmla="*/ 181 h 246"/>
                <a:gd name="T6" fmla="*/ 65 w 130"/>
                <a:gd name="T7" fmla="*/ 246 h 246"/>
                <a:gd name="T8" fmla="*/ 130 w 130"/>
                <a:gd name="T9" fmla="*/ 181 h 246"/>
                <a:gd name="T10" fmla="*/ 130 w 130"/>
                <a:gd name="T11" fmla="*/ 65 h 246"/>
                <a:gd name="T12" fmla="*/ 65 w 130"/>
                <a:gd name="T13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246">
                  <a:moveTo>
                    <a:pt x="65" y="0"/>
                  </a:moveTo>
                  <a:cubicBezTo>
                    <a:pt x="29" y="0"/>
                    <a:pt x="0" y="29"/>
                    <a:pt x="0" y="65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0" y="217"/>
                    <a:pt x="29" y="246"/>
                    <a:pt x="65" y="246"/>
                  </a:cubicBezTo>
                  <a:cubicBezTo>
                    <a:pt x="101" y="246"/>
                    <a:pt x="130" y="217"/>
                    <a:pt x="130" y="181"/>
                  </a:cubicBezTo>
                  <a:cubicBezTo>
                    <a:pt x="130" y="65"/>
                    <a:pt x="130" y="65"/>
                    <a:pt x="130" y="65"/>
                  </a:cubicBezTo>
                  <a:cubicBezTo>
                    <a:pt x="130" y="29"/>
                    <a:pt x="101" y="0"/>
                    <a:pt x="6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8">
              <a:extLst>
                <a:ext uri="{FF2B5EF4-FFF2-40B4-BE49-F238E27FC236}">
                  <a16:creationId xmlns:a16="http://schemas.microsoft.com/office/drawing/2014/main" id="{C8B75A1D-E89F-0B70-9303-FC57B86E77D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2714" y="2336800"/>
              <a:ext cx="484188" cy="328613"/>
            </a:xfrm>
            <a:custGeom>
              <a:avLst/>
              <a:gdLst>
                <a:gd name="T0" fmla="*/ 203 w 256"/>
                <a:gd name="T1" fmla="*/ 47 h 173"/>
                <a:gd name="T2" fmla="*/ 92 w 256"/>
                <a:gd name="T3" fmla="*/ 11 h 173"/>
                <a:gd name="T4" fmla="*/ 11 w 256"/>
                <a:gd name="T5" fmla="*/ 52 h 173"/>
                <a:gd name="T6" fmla="*/ 53 w 256"/>
                <a:gd name="T7" fmla="*/ 133 h 173"/>
                <a:gd name="T8" fmla="*/ 163 w 256"/>
                <a:gd name="T9" fmla="*/ 170 h 173"/>
                <a:gd name="T10" fmla="*/ 183 w 256"/>
                <a:gd name="T11" fmla="*/ 173 h 173"/>
                <a:gd name="T12" fmla="*/ 245 w 256"/>
                <a:gd name="T13" fmla="*/ 128 h 173"/>
                <a:gd name="T14" fmla="*/ 203 w 256"/>
                <a:gd name="T15" fmla="*/ 47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" h="173">
                  <a:moveTo>
                    <a:pt x="203" y="47"/>
                  </a:moveTo>
                  <a:cubicBezTo>
                    <a:pt x="92" y="11"/>
                    <a:pt x="92" y="11"/>
                    <a:pt x="92" y="11"/>
                  </a:cubicBezTo>
                  <a:cubicBezTo>
                    <a:pt x="59" y="0"/>
                    <a:pt x="22" y="18"/>
                    <a:pt x="11" y="52"/>
                  </a:cubicBezTo>
                  <a:cubicBezTo>
                    <a:pt x="0" y="86"/>
                    <a:pt x="19" y="122"/>
                    <a:pt x="53" y="133"/>
                  </a:cubicBezTo>
                  <a:cubicBezTo>
                    <a:pt x="163" y="170"/>
                    <a:pt x="163" y="170"/>
                    <a:pt x="163" y="170"/>
                  </a:cubicBezTo>
                  <a:cubicBezTo>
                    <a:pt x="170" y="172"/>
                    <a:pt x="177" y="173"/>
                    <a:pt x="183" y="173"/>
                  </a:cubicBezTo>
                  <a:cubicBezTo>
                    <a:pt x="211" y="173"/>
                    <a:pt x="236" y="155"/>
                    <a:pt x="245" y="128"/>
                  </a:cubicBezTo>
                  <a:cubicBezTo>
                    <a:pt x="256" y="94"/>
                    <a:pt x="237" y="58"/>
                    <a:pt x="203" y="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9" name="ZenIcon4">
            <a:extLst>
              <a:ext uri="{FF2B5EF4-FFF2-40B4-BE49-F238E27FC236}">
                <a16:creationId xmlns:a16="http://schemas.microsoft.com/office/drawing/2014/main" id="{6CAE6B90-D08B-103A-8CC0-CC9CE2BFA30D}"/>
              </a:ext>
            </a:extLst>
          </p:cNvPr>
          <p:cNvGrpSpPr>
            <a:grpSpLocks noChangeAspect="1"/>
          </p:cNvGrpSpPr>
          <p:nvPr>
            <p:custDataLst>
              <p:tags r:id="rId8"/>
            </p:custDataLst>
          </p:nvPr>
        </p:nvGrpSpPr>
        <p:grpSpPr>
          <a:xfrm>
            <a:off x="4414883" y="3367254"/>
            <a:ext cx="452757" cy="452757"/>
            <a:chOff x="-4769427" y="-314325"/>
            <a:chExt cx="4660901" cy="4576762"/>
          </a:xfrm>
        </p:grpSpPr>
        <p:sp>
          <p:nvSpPr>
            <p:cNvPr id="40" name="Freeform 23">
              <a:extLst>
                <a:ext uri="{FF2B5EF4-FFF2-40B4-BE49-F238E27FC236}">
                  <a16:creationId xmlns:a16="http://schemas.microsoft.com/office/drawing/2014/main" id="{43F29D8A-EB07-4A92-529E-0E4E51BE12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509077" y="-314325"/>
              <a:ext cx="4138613" cy="3956050"/>
            </a:xfrm>
            <a:custGeom>
              <a:avLst/>
              <a:gdLst>
                <a:gd name="T0" fmla="*/ 2128 w 2188"/>
                <a:gd name="T1" fmla="*/ 946 h 2085"/>
                <a:gd name="T2" fmla="*/ 2169 w 2188"/>
                <a:gd name="T3" fmla="*/ 781 h 2085"/>
                <a:gd name="T4" fmla="*/ 2038 w 2188"/>
                <a:gd name="T5" fmla="*/ 671 h 2085"/>
                <a:gd name="T6" fmla="*/ 1503 w 2188"/>
                <a:gd name="T7" fmla="*/ 593 h 2085"/>
                <a:gd name="T8" fmla="*/ 1478 w 2188"/>
                <a:gd name="T9" fmla="*/ 576 h 2085"/>
                <a:gd name="T10" fmla="*/ 1239 w 2188"/>
                <a:gd name="T11" fmla="*/ 90 h 2085"/>
                <a:gd name="T12" fmla="*/ 1094 w 2188"/>
                <a:gd name="T13" fmla="*/ 0 h 2085"/>
                <a:gd name="T14" fmla="*/ 949 w 2188"/>
                <a:gd name="T15" fmla="*/ 90 h 2085"/>
                <a:gd name="T16" fmla="*/ 710 w 2188"/>
                <a:gd name="T17" fmla="*/ 576 h 2085"/>
                <a:gd name="T18" fmla="*/ 685 w 2188"/>
                <a:gd name="T19" fmla="*/ 593 h 2085"/>
                <a:gd name="T20" fmla="*/ 150 w 2188"/>
                <a:gd name="T21" fmla="*/ 671 h 2085"/>
                <a:gd name="T22" fmla="*/ 19 w 2188"/>
                <a:gd name="T23" fmla="*/ 781 h 2085"/>
                <a:gd name="T24" fmla="*/ 60 w 2188"/>
                <a:gd name="T25" fmla="*/ 946 h 2085"/>
                <a:gd name="T26" fmla="*/ 448 w 2188"/>
                <a:gd name="T27" fmla="*/ 1324 h 2085"/>
                <a:gd name="T28" fmla="*/ 457 w 2188"/>
                <a:gd name="T29" fmla="*/ 1353 h 2085"/>
                <a:gd name="T30" fmla="*/ 366 w 2188"/>
                <a:gd name="T31" fmla="*/ 1886 h 2085"/>
                <a:gd name="T32" fmla="*/ 430 w 2188"/>
                <a:gd name="T33" fmla="*/ 2044 h 2085"/>
                <a:gd name="T34" fmla="*/ 600 w 2188"/>
                <a:gd name="T35" fmla="*/ 2056 h 2085"/>
                <a:gd name="T36" fmla="*/ 1079 w 2188"/>
                <a:gd name="T37" fmla="*/ 1805 h 2085"/>
                <a:gd name="T38" fmla="*/ 1109 w 2188"/>
                <a:gd name="T39" fmla="*/ 1805 h 2085"/>
                <a:gd name="T40" fmla="*/ 1588 w 2188"/>
                <a:gd name="T41" fmla="*/ 2056 h 2085"/>
                <a:gd name="T42" fmla="*/ 1663 w 2188"/>
                <a:gd name="T43" fmla="*/ 2075 h 2085"/>
                <a:gd name="T44" fmla="*/ 1758 w 2188"/>
                <a:gd name="T45" fmla="*/ 2044 h 2085"/>
                <a:gd name="T46" fmla="*/ 1822 w 2188"/>
                <a:gd name="T47" fmla="*/ 1886 h 2085"/>
                <a:gd name="T48" fmla="*/ 1731 w 2188"/>
                <a:gd name="T49" fmla="*/ 1353 h 2085"/>
                <a:gd name="T50" fmla="*/ 1740 w 2188"/>
                <a:gd name="T51" fmla="*/ 1324 h 2085"/>
                <a:gd name="T52" fmla="*/ 2128 w 2188"/>
                <a:gd name="T53" fmla="*/ 946 h 2085"/>
                <a:gd name="T54" fmla="*/ 1604 w 2188"/>
                <a:gd name="T55" fmla="*/ 1375 h 2085"/>
                <a:gd name="T56" fmla="*/ 1695 w 2188"/>
                <a:gd name="T57" fmla="*/ 1908 h 2085"/>
                <a:gd name="T58" fmla="*/ 1682 w 2188"/>
                <a:gd name="T59" fmla="*/ 1940 h 2085"/>
                <a:gd name="T60" fmla="*/ 1648 w 2188"/>
                <a:gd name="T61" fmla="*/ 1942 h 2085"/>
                <a:gd name="T62" fmla="*/ 1169 w 2188"/>
                <a:gd name="T63" fmla="*/ 1690 h 2085"/>
                <a:gd name="T64" fmla="*/ 1094 w 2188"/>
                <a:gd name="T65" fmla="*/ 1672 h 2085"/>
                <a:gd name="T66" fmla="*/ 1019 w 2188"/>
                <a:gd name="T67" fmla="*/ 1690 h 2085"/>
                <a:gd name="T68" fmla="*/ 540 w 2188"/>
                <a:gd name="T69" fmla="*/ 1942 h 2085"/>
                <a:gd name="T70" fmla="*/ 506 w 2188"/>
                <a:gd name="T71" fmla="*/ 1940 h 2085"/>
                <a:gd name="T72" fmla="*/ 493 w 2188"/>
                <a:gd name="T73" fmla="*/ 1908 h 2085"/>
                <a:gd name="T74" fmla="*/ 584 w 2188"/>
                <a:gd name="T75" fmla="*/ 1375 h 2085"/>
                <a:gd name="T76" fmla="*/ 538 w 2188"/>
                <a:gd name="T77" fmla="*/ 1232 h 2085"/>
                <a:gd name="T78" fmla="*/ 150 w 2188"/>
                <a:gd name="T79" fmla="*/ 854 h 2085"/>
                <a:gd name="T80" fmla="*/ 142 w 2188"/>
                <a:gd name="T81" fmla="*/ 821 h 2085"/>
                <a:gd name="T82" fmla="*/ 168 w 2188"/>
                <a:gd name="T83" fmla="*/ 799 h 2085"/>
                <a:gd name="T84" fmla="*/ 704 w 2188"/>
                <a:gd name="T85" fmla="*/ 721 h 2085"/>
                <a:gd name="T86" fmla="*/ 826 w 2188"/>
                <a:gd name="T87" fmla="*/ 633 h 2085"/>
                <a:gd name="T88" fmla="*/ 1065 w 2188"/>
                <a:gd name="T89" fmla="*/ 147 h 2085"/>
                <a:gd name="T90" fmla="*/ 1094 w 2188"/>
                <a:gd name="T91" fmla="*/ 129 h 2085"/>
                <a:gd name="T92" fmla="*/ 1123 w 2188"/>
                <a:gd name="T93" fmla="*/ 147 h 2085"/>
                <a:gd name="T94" fmla="*/ 1123 w 2188"/>
                <a:gd name="T95" fmla="*/ 147 h 2085"/>
                <a:gd name="T96" fmla="*/ 1363 w 2188"/>
                <a:gd name="T97" fmla="*/ 633 h 2085"/>
                <a:gd name="T98" fmla="*/ 1484 w 2188"/>
                <a:gd name="T99" fmla="*/ 721 h 2085"/>
                <a:gd name="T100" fmla="*/ 2020 w 2188"/>
                <a:gd name="T101" fmla="*/ 799 h 2085"/>
                <a:gd name="T102" fmla="*/ 2046 w 2188"/>
                <a:gd name="T103" fmla="*/ 821 h 2085"/>
                <a:gd name="T104" fmla="*/ 2038 w 2188"/>
                <a:gd name="T105" fmla="*/ 854 h 2085"/>
                <a:gd name="T106" fmla="*/ 1650 w 2188"/>
                <a:gd name="T107" fmla="*/ 1232 h 2085"/>
                <a:gd name="T108" fmla="*/ 1604 w 2188"/>
                <a:gd name="T109" fmla="*/ 1375 h 20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188" h="2085">
                  <a:moveTo>
                    <a:pt x="2128" y="946"/>
                  </a:moveTo>
                  <a:cubicBezTo>
                    <a:pt x="2172" y="903"/>
                    <a:pt x="2188" y="840"/>
                    <a:pt x="2169" y="781"/>
                  </a:cubicBezTo>
                  <a:cubicBezTo>
                    <a:pt x="2149" y="722"/>
                    <a:pt x="2100" y="680"/>
                    <a:pt x="2038" y="671"/>
                  </a:cubicBezTo>
                  <a:cubicBezTo>
                    <a:pt x="1503" y="593"/>
                    <a:pt x="1503" y="593"/>
                    <a:pt x="1503" y="593"/>
                  </a:cubicBezTo>
                  <a:cubicBezTo>
                    <a:pt x="1492" y="592"/>
                    <a:pt x="1483" y="585"/>
                    <a:pt x="1478" y="576"/>
                  </a:cubicBezTo>
                  <a:cubicBezTo>
                    <a:pt x="1239" y="90"/>
                    <a:pt x="1239" y="90"/>
                    <a:pt x="1239" y="90"/>
                  </a:cubicBezTo>
                  <a:cubicBezTo>
                    <a:pt x="1211" y="35"/>
                    <a:pt x="1156" y="0"/>
                    <a:pt x="1094" y="0"/>
                  </a:cubicBezTo>
                  <a:cubicBezTo>
                    <a:pt x="1032" y="0"/>
                    <a:pt x="977" y="35"/>
                    <a:pt x="949" y="90"/>
                  </a:cubicBezTo>
                  <a:cubicBezTo>
                    <a:pt x="710" y="576"/>
                    <a:pt x="710" y="576"/>
                    <a:pt x="710" y="576"/>
                  </a:cubicBezTo>
                  <a:cubicBezTo>
                    <a:pt x="705" y="585"/>
                    <a:pt x="696" y="592"/>
                    <a:pt x="685" y="593"/>
                  </a:cubicBezTo>
                  <a:cubicBezTo>
                    <a:pt x="150" y="671"/>
                    <a:pt x="150" y="671"/>
                    <a:pt x="150" y="671"/>
                  </a:cubicBezTo>
                  <a:cubicBezTo>
                    <a:pt x="88" y="680"/>
                    <a:pt x="39" y="722"/>
                    <a:pt x="19" y="781"/>
                  </a:cubicBezTo>
                  <a:cubicBezTo>
                    <a:pt x="0" y="840"/>
                    <a:pt x="16" y="903"/>
                    <a:pt x="60" y="946"/>
                  </a:cubicBezTo>
                  <a:cubicBezTo>
                    <a:pt x="448" y="1324"/>
                    <a:pt x="448" y="1324"/>
                    <a:pt x="448" y="1324"/>
                  </a:cubicBezTo>
                  <a:cubicBezTo>
                    <a:pt x="455" y="1332"/>
                    <a:pt x="459" y="1342"/>
                    <a:pt x="457" y="1353"/>
                  </a:cubicBezTo>
                  <a:cubicBezTo>
                    <a:pt x="366" y="1886"/>
                    <a:pt x="366" y="1886"/>
                    <a:pt x="366" y="1886"/>
                  </a:cubicBezTo>
                  <a:cubicBezTo>
                    <a:pt x="355" y="1947"/>
                    <a:pt x="380" y="2008"/>
                    <a:pt x="430" y="2044"/>
                  </a:cubicBezTo>
                  <a:cubicBezTo>
                    <a:pt x="480" y="2081"/>
                    <a:pt x="545" y="2085"/>
                    <a:pt x="600" y="2056"/>
                  </a:cubicBezTo>
                  <a:cubicBezTo>
                    <a:pt x="1079" y="1805"/>
                    <a:pt x="1079" y="1805"/>
                    <a:pt x="1079" y="1805"/>
                  </a:cubicBezTo>
                  <a:cubicBezTo>
                    <a:pt x="1088" y="1800"/>
                    <a:pt x="1100" y="1800"/>
                    <a:pt x="1109" y="1805"/>
                  </a:cubicBezTo>
                  <a:cubicBezTo>
                    <a:pt x="1588" y="2056"/>
                    <a:pt x="1588" y="2056"/>
                    <a:pt x="1588" y="2056"/>
                  </a:cubicBezTo>
                  <a:cubicBezTo>
                    <a:pt x="1612" y="2069"/>
                    <a:pt x="1638" y="2075"/>
                    <a:pt x="1663" y="2075"/>
                  </a:cubicBezTo>
                  <a:cubicBezTo>
                    <a:pt x="1697" y="2075"/>
                    <a:pt x="1730" y="2065"/>
                    <a:pt x="1758" y="2044"/>
                  </a:cubicBezTo>
                  <a:cubicBezTo>
                    <a:pt x="1808" y="2008"/>
                    <a:pt x="1833" y="1947"/>
                    <a:pt x="1822" y="1886"/>
                  </a:cubicBezTo>
                  <a:cubicBezTo>
                    <a:pt x="1731" y="1353"/>
                    <a:pt x="1731" y="1353"/>
                    <a:pt x="1731" y="1353"/>
                  </a:cubicBezTo>
                  <a:cubicBezTo>
                    <a:pt x="1729" y="1342"/>
                    <a:pt x="1733" y="1332"/>
                    <a:pt x="1740" y="1324"/>
                  </a:cubicBezTo>
                  <a:lnTo>
                    <a:pt x="2128" y="946"/>
                  </a:lnTo>
                  <a:close/>
                  <a:moveTo>
                    <a:pt x="1604" y="1375"/>
                  </a:moveTo>
                  <a:cubicBezTo>
                    <a:pt x="1695" y="1908"/>
                    <a:pt x="1695" y="1908"/>
                    <a:pt x="1695" y="1908"/>
                  </a:cubicBezTo>
                  <a:cubicBezTo>
                    <a:pt x="1698" y="1926"/>
                    <a:pt x="1687" y="1936"/>
                    <a:pt x="1682" y="1940"/>
                  </a:cubicBezTo>
                  <a:cubicBezTo>
                    <a:pt x="1677" y="1943"/>
                    <a:pt x="1664" y="1951"/>
                    <a:pt x="1648" y="1942"/>
                  </a:cubicBezTo>
                  <a:cubicBezTo>
                    <a:pt x="1169" y="1690"/>
                    <a:pt x="1169" y="1690"/>
                    <a:pt x="1169" y="1690"/>
                  </a:cubicBezTo>
                  <a:cubicBezTo>
                    <a:pt x="1146" y="1678"/>
                    <a:pt x="1120" y="1672"/>
                    <a:pt x="1094" y="1672"/>
                  </a:cubicBezTo>
                  <a:cubicBezTo>
                    <a:pt x="1068" y="1672"/>
                    <a:pt x="1042" y="1678"/>
                    <a:pt x="1019" y="1690"/>
                  </a:cubicBezTo>
                  <a:cubicBezTo>
                    <a:pt x="540" y="1942"/>
                    <a:pt x="540" y="1942"/>
                    <a:pt x="540" y="1942"/>
                  </a:cubicBezTo>
                  <a:cubicBezTo>
                    <a:pt x="524" y="1951"/>
                    <a:pt x="511" y="1943"/>
                    <a:pt x="506" y="1940"/>
                  </a:cubicBezTo>
                  <a:cubicBezTo>
                    <a:pt x="501" y="1936"/>
                    <a:pt x="490" y="1926"/>
                    <a:pt x="493" y="1908"/>
                  </a:cubicBezTo>
                  <a:cubicBezTo>
                    <a:pt x="584" y="1375"/>
                    <a:pt x="584" y="1375"/>
                    <a:pt x="584" y="1375"/>
                  </a:cubicBezTo>
                  <a:cubicBezTo>
                    <a:pt x="593" y="1322"/>
                    <a:pt x="576" y="1269"/>
                    <a:pt x="538" y="1232"/>
                  </a:cubicBezTo>
                  <a:cubicBezTo>
                    <a:pt x="150" y="854"/>
                    <a:pt x="150" y="854"/>
                    <a:pt x="150" y="854"/>
                  </a:cubicBezTo>
                  <a:cubicBezTo>
                    <a:pt x="137" y="841"/>
                    <a:pt x="140" y="827"/>
                    <a:pt x="142" y="821"/>
                  </a:cubicBezTo>
                  <a:cubicBezTo>
                    <a:pt x="144" y="815"/>
                    <a:pt x="150" y="801"/>
                    <a:pt x="168" y="799"/>
                  </a:cubicBezTo>
                  <a:cubicBezTo>
                    <a:pt x="704" y="721"/>
                    <a:pt x="704" y="721"/>
                    <a:pt x="704" y="721"/>
                  </a:cubicBezTo>
                  <a:cubicBezTo>
                    <a:pt x="757" y="713"/>
                    <a:pt x="802" y="680"/>
                    <a:pt x="826" y="633"/>
                  </a:cubicBezTo>
                  <a:cubicBezTo>
                    <a:pt x="1065" y="147"/>
                    <a:pt x="1065" y="147"/>
                    <a:pt x="1065" y="147"/>
                  </a:cubicBezTo>
                  <a:cubicBezTo>
                    <a:pt x="1073" y="131"/>
                    <a:pt x="1088" y="129"/>
                    <a:pt x="1094" y="129"/>
                  </a:cubicBezTo>
                  <a:cubicBezTo>
                    <a:pt x="1100" y="129"/>
                    <a:pt x="1115" y="131"/>
                    <a:pt x="1123" y="147"/>
                  </a:cubicBezTo>
                  <a:cubicBezTo>
                    <a:pt x="1123" y="147"/>
                    <a:pt x="1123" y="147"/>
                    <a:pt x="1123" y="147"/>
                  </a:cubicBezTo>
                  <a:cubicBezTo>
                    <a:pt x="1363" y="633"/>
                    <a:pt x="1363" y="633"/>
                    <a:pt x="1363" y="633"/>
                  </a:cubicBezTo>
                  <a:cubicBezTo>
                    <a:pt x="1386" y="680"/>
                    <a:pt x="1431" y="713"/>
                    <a:pt x="1484" y="721"/>
                  </a:cubicBezTo>
                  <a:cubicBezTo>
                    <a:pt x="2020" y="799"/>
                    <a:pt x="2020" y="799"/>
                    <a:pt x="2020" y="799"/>
                  </a:cubicBezTo>
                  <a:cubicBezTo>
                    <a:pt x="2038" y="801"/>
                    <a:pt x="2044" y="815"/>
                    <a:pt x="2046" y="821"/>
                  </a:cubicBezTo>
                  <a:cubicBezTo>
                    <a:pt x="2048" y="827"/>
                    <a:pt x="2051" y="841"/>
                    <a:pt x="2038" y="854"/>
                  </a:cubicBezTo>
                  <a:cubicBezTo>
                    <a:pt x="1650" y="1232"/>
                    <a:pt x="1650" y="1232"/>
                    <a:pt x="1650" y="1232"/>
                  </a:cubicBezTo>
                  <a:cubicBezTo>
                    <a:pt x="1612" y="1269"/>
                    <a:pt x="1595" y="1322"/>
                    <a:pt x="1604" y="137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24">
              <a:extLst>
                <a:ext uri="{FF2B5EF4-FFF2-40B4-BE49-F238E27FC236}">
                  <a16:creationId xmlns:a16="http://schemas.microsoft.com/office/drawing/2014/main" id="{40C4F27B-49B8-C4E8-B092-77D331F97E11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51539" y="-182563"/>
              <a:ext cx="406400" cy="439738"/>
            </a:xfrm>
            <a:custGeom>
              <a:avLst/>
              <a:gdLst>
                <a:gd name="T0" fmla="*/ 179 w 215"/>
                <a:gd name="T1" fmla="*/ 21 h 232"/>
                <a:gd name="T2" fmla="*/ 89 w 215"/>
                <a:gd name="T3" fmla="*/ 35 h 232"/>
                <a:gd name="T4" fmla="*/ 21 w 215"/>
                <a:gd name="T5" fmla="*/ 130 h 232"/>
                <a:gd name="T6" fmla="*/ 35 w 215"/>
                <a:gd name="T7" fmla="*/ 220 h 232"/>
                <a:gd name="T8" fmla="*/ 73 w 215"/>
                <a:gd name="T9" fmla="*/ 232 h 232"/>
                <a:gd name="T10" fmla="*/ 125 w 215"/>
                <a:gd name="T11" fmla="*/ 206 h 232"/>
                <a:gd name="T12" fmla="*/ 194 w 215"/>
                <a:gd name="T13" fmla="*/ 111 h 232"/>
                <a:gd name="T14" fmla="*/ 179 w 215"/>
                <a:gd name="T15" fmla="*/ 2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5" h="232">
                  <a:moveTo>
                    <a:pt x="179" y="21"/>
                  </a:moveTo>
                  <a:cubicBezTo>
                    <a:pt x="151" y="0"/>
                    <a:pt x="110" y="7"/>
                    <a:pt x="89" y="35"/>
                  </a:cubicBezTo>
                  <a:cubicBezTo>
                    <a:pt x="21" y="130"/>
                    <a:pt x="21" y="130"/>
                    <a:pt x="21" y="130"/>
                  </a:cubicBezTo>
                  <a:cubicBezTo>
                    <a:pt x="0" y="159"/>
                    <a:pt x="6" y="199"/>
                    <a:pt x="35" y="220"/>
                  </a:cubicBezTo>
                  <a:cubicBezTo>
                    <a:pt x="46" y="228"/>
                    <a:pt x="60" y="232"/>
                    <a:pt x="73" y="232"/>
                  </a:cubicBezTo>
                  <a:cubicBezTo>
                    <a:pt x="93" y="232"/>
                    <a:pt x="113" y="223"/>
                    <a:pt x="125" y="206"/>
                  </a:cubicBezTo>
                  <a:cubicBezTo>
                    <a:pt x="194" y="111"/>
                    <a:pt x="194" y="111"/>
                    <a:pt x="194" y="111"/>
                  </a:cubicBezTo>
                  <a:cubicBezTo>
                    <a:pt x="215" y="83"/>
                    <a:pt x="208" y="42"/>
                    <a:pt x="179" y="2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5">
              <a:extLst>
                <a:ext uri="{FF2B5EF4-FFF2-40B4-BE49-F238E27FC236}">
                  <a16:creationId xmlns:a16="http://schemas.microsoft.com/office/drawing/2014/main" id="{BC6B215D-0CCE-2BB4-CE06-6C52B45F3E0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34402" y="-182563"/>
              <a:ext cx="407988" cy="439738"/>
            </a:xfrm>
            <a:custGeom>
              <a:avLst/>
              <a:gdLst>
                <a:gd name="T0" fmla="*/ 194 w 215"/>
                <a:gd name="T1" fmla="*/ 129 h 232"/>
                <a:gd name="T2" fmla="*/ 126 w 215"/>
                <a:gd name="T3" fmla="*/ 35 h 232"/>
                <a:gd name="T4" fmla="*/ 35 w 215"/>
                <a:gd name="T5" fmla="*/ 21 h 232"/>
                <a:gd name="T6" fmla="*/ 21 w 215"/>
                <a:gd name="T7" fmla="*/ 111 h 232"/>
                <a:gd name="T8" fmla="*/ 90 w 215"/>
                <a:gd name="T9" fmla="*/ 205 h 232"/>
                <a:gd name="T10" fmla="*/ 142 w 215"/>
                <a:gd name="T11" fmla="*/ 232 h 232"/>
                <a:gd name="T12" fmla="*/ 180 w 215"/>
                <a:gd name="T13" fmla="*/ 220 h 232"/>
                <a:gd name="T14" fmla="*/ 194 w 215"/>
                <a:gd name="T15" fmla="*/ 129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5" h="232">
                  <a:moveTo>
                    <a:pt x="194" y="129"/>
                  </a:moveTo>
                  <a:cubicBezTo>
                    <a:pt x="126" y="35"/>
                    <a:pt x="126" y="35"/>
                    <a:pt x="126" y="35"/>
                  </a:cubicBezTo>
                  <a:cubicBezTo>
                    <a:pt x="105" y="6"/>
                    <a:pt x="64" y="0"/>
                    <a:pt x="35" y="21"/>
                  </a:cubicBezTo>
                  <a:cubicBezTo>
                    <a:pt x="6" y="42"/>
                    <a:pt x="0" y="82"/>
                    <a:pt x="21" y="111"/>
                  </a:cubicBezTo>
                  <a:cubicBezTo>
                    <a:pt x="90" y="205"/>
                    <a:pt x="90" y="205"/>
                    <a:pt x="90" y="205"/>
                  </a:cubicBezTo>
                  <a:cubicBezTo>
                    <a:pt x="102" y="223"/>
                    <a:pt x="122" y="232"/>
                    <a:pt x="142" y="232"/>
                  </a:cubicBezTo>
                  <a:cubicBezTo>
                    <a:pt x="155" y="232"/>
                    <a:pt x="168" y="228"/>
                    <a:pt x="180" y="220"/>
                  </a:cubicBezTo>
                  <a:cubicBezTo>
                    <a:pt x="209" y="199"/>
                    <a:pt x="215" y="158"/>
                    <a:pt x="194" y="12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6">
              <a:extLst>
                <a:ext uri="{FF2B5EF4-FFF2-40B4-BE49-F238E27FC236}">
                  <a16:creationId xmlns:a16="http://schemas.microsoft.com/office/drawing/2014/main" id="{846B4E4D-23B4-8DC0-C807-DFE8EF916E9C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69427" y="2336800"/>
              <a:ext cx="484188" cy="328613"/>
            </a:xfrm>
            <a:custGeom>
              <a:avLst/>
              <a:gdLst>
                <a:gd name="T0" fmla="*/ 245 w 256"/>
                <a:gd name="T1" fmla="*/ 52 h 173"/>
                <a:gd name="T2" fmla="*/ 164 w 256"/>
                <a:gd name="T3" fmla="*/ 11 h 173"/>
                <a:gd name="T4" fmla="*/ 53 w 256"/>
                <a:gd name="T5" fmla="*/ 47 h 173"/>
                <a:gd name="T6" fmla="*/ 11 w 256"/>
                <a:gd name="T7" fmla="*/ 128 h 173"/>
                <a:gd name="T8" fmla="*/ 73 w 256"/>
                <a:gd name="T9" fmla="*/ 173 h 173"/>
                <a:gd name="T10" fmla="*/ 93 w 256"/>
                <a:gd name="T11" fmla="*/ 169 h 173"/>
                <a:gd name="T12" fmla="*/ 203 w 256"/>
                <a:gd name="T13" fmla="*/ 133 h 173"/>
                <a:gd name="T14" fmla="*/ 245 w 256"/>
                <a:gd name="T15" fmla="*/ 5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" h="173">
                  <a:moveTo>
                    <a:pt x="245" y="52"/>
                  </a:moveTo>
                  <a:cubicBezTo>
                    <a:pt x="234" y="18"/>
                    <a:pt x="197" y="0"/>
                    <a:pt x="164" y="11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19" y="58"/>
                    <a:pt x="0" y="94"/>
                    <a:pt x="11" y="128"/>
                  </a:cubicBezTo>
                  <a:cubicBezTo>
                    <a:pt x="20" y="155"/>
                    <a:pt x="45" y="173"/>
                    <a:pt x="73" y="173"/>
                  </a:cubicBezTo>
                  <a:cubicBezTo>
                    <a:pt x="79" y="173"/>
                    <a:pt x="86" y="172"/>
                    <a:pt x="93" y="169"/>
                  </a:cubicBezTo>
                  <a:cubicBezTo>
                    <a:pt x="203" y="133"/>
                    <a:pt x="203" y="133"/>
                    <a:pt x="203" y="133"/>
                  </a:cubicBezTo>
                  <a:cubicBezTo>
                    <a:pt x="237" y="122"/>
                    <a:pt x="256" y="86"/>
                    <a:pt x="245" y="5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7">
              <a:extLst>
                <a:ext uri="{FF2B5EF4-FFF2-40B4-BE49-F238E27FC236}">
                  <a16:creationId xmlns:a16="http://schemas.microsoft.com/office/drawing/2014/main" id="{F95C2829-4FCE-F760-8870-65136ED1ED2D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62802" y="3795712"/>
              <a:ext cx="246063" cy="466725"/>
            </a:xfrm>
            <a:custGeom>
              <a:avLst/>
              <a:gdLst>
                <a:gd name="T0" fmla="*/ 65 w 130"/>
                <a:gd name="T1" fmla="*/ 0 h 246"/>
                <a:gd name="T2" fmla="*/ 0 w 130"/>
                <a:gd name="T3" fmla="*/ 65 h 246"/>
                <a:gd name="T4" fmla="*/ 0 w 130"/>
                <a:gd name="T5" fmla="*/ 181 h 246"/>
                <a:gd name="T6" fmla="*/ 65 w 130"/>
                <a:gd name="T7" fmla="*/ 246 h 246"/>
                <a:gd name="T8" fmla="*/ 130 w 130"/>
                <a:gd name="T9" fmla="*/ 181 h 246"/>
                <a:gd name="T10" fmla="*/ 130 w 130"/>
                <a:gd name="T11" fmla="*/ 65 h 246"/>
                <a:gd name="T12" fmla="*/ 65 w 130"/>
                <a:gd name="T13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246">
                  <a:moveTo>
                    <a:pt x="65" y="0"/>
                  </a:moveTo>
                  <a:cubicBezTo>
                    <a:pt x="29" y="0"/>
                    <a:pt x="0" y="29"/>
                    <a:pt x="0" y="65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0" y="217"/>
                    <a:pt x="29" y="246"/>
                    <a:pt x="65" y="246"/>
                  </a:cubicBezTo>
                  <a:cubicBezTo>
                    <a:pt x="101" y="246"/>
                    <a:pt x="130" y="217"/>
                    <a:pt x="130" y="181"/>
                  </a:cubicBezTo>
                  <a:cubicBezTo>
                    <a:pt x="130" y="65"/>
                    <a:pt x="130" y="65"/>
                    <a:pt x="130" y="65"/>
                  </a:cubicBezTo>
                  <a:cubicBezTo>
                    <a:pt x="130" y="29"/>
                    <a:pt x="101" y="0"/>
                    <a:pt x="6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8">
              <a:extLst>
                <a:ext uri="{FF2B5EF4-FFF2-40B4-BE49-F238E27FC236}">
                  <a16:creationId xmlns:a16="http://schemas.microsoft.com/office/drawing/2014/main" id="{D57BC87B-611E-C991-81AA-64243A6BFFBD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2714" y="2336800"/>
              <a:ext cx="484188" cy="328613"/>
            </a:xfrm>
            <a:custGeom>
              <a:avLst/>
              <a:gdLst>
                <a:gd name="T0" fmla="*/ 203 w 256"/>
                <a:gd name="T1" fmla="*/ 47 h 173"/>
                <a:gd name="T2" fmla="*/ 92 w 256"/>
                <a:gd name="T3" fmla="*/ 11 h 173"/>
                <a:gd name="T4" fmla="*/ 11 w 256"/>
                <a:gd name="T5" fmla="*/ 52 h 173"/>
                <a:gd name="T6" fmla="*/ 53 w 256"/>
                <a:gd name="T7" fmla="*/ 133 h 173"/>
                <a:gd name="T8" fmla="*/ 163 w 256"/>
                <a:gd name="T9" fmla="*/ 170 h 173"/>
                <a:gd name="T10" fmla="*/ 183 w 256"/>
                <a:gd name="T11" fmla="*/ 173 h 173"/>
                <a:gd name="T12" fmla="*/ 245 w 256"/>
                <a:gd name="T13" fmla="*/ 128 h 173"/>
                <a:gd name="T14" fmla="*/ 203 w 256"/>
                <a:gd name="T15" fmla="*/ 47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" h="173">
                  <a:moveTo>
                    <a:pt x="203" y="47"/>
                  </a:moveTo>
                  <a:cubicBezTo>
                    <a:pt x="92" y="11"/>
                    <a:pt x="92" y="11"/>
                    <a:pt x="92" y="11"/>
                  </a:cubicBezTo>
                  <a:cubicBezTo>
                    <a:pt x="59" y="0"/>
                    <a:pt x="22" y="18"/>
                    <a:pt x="11" y="52"/>
                  </a:cubicBezTo>
                  <a:cubicBezTo>
                    <a:pt x="0" y="86"/>
                    <a:pt x="19" y="122"/>
                    <a:pt x="53" y="133"/>
                  </a:cubicBezTo>
                  <a:cubicBezTo>
                    <a:pt x="163" y="170"/>
                    <a:pt x="163" y="170"/>
                    <a:pt x="163" y="170"/>
                  </a:cubicBezTo>
                  <a:cubicBezTo>
                    <a:pt x="170" y="172"/>
                    <a:pt x="177" y="173"/>
                    <a:pt x="183" y="173"/>
                  </a:cubicBezTo>
                  <a:cubicBezTo>
                    <a:pt x="211" y="173"/>
                    <a:pt x="236" y="155"/>
                    <a:pt x="245" y="128"/>
                  </a:cubicBezTo>
                  <a:cubicBezTo>
                    <a:pt x="256" y="94"/>
                    <a:pt x="237" y="58"/>
                    <a:pt x="203" y="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6" name="TextBox 45">
            <a:extLst>
              <a:ext uri="{FF2B5EF4-FFF2-40B4-BE49-F238E27FC236}">
                <a16:creationId xmlns:a16="http://schemas.microsoft.com/office/drawing/2014/main" id="{57489487-1FF1-0B97-BF14-A7FD46F9D848}"/>
              </a:ext>
            </a:extLst>
          </p:cNvPr>
          <p:cNvSpPr txBox="1"/>
          <p:nvPr/>
        </p:nvSpPr>
        <p:spPr>
          <a:xfrm>
            <a:off x="419100" y="4724760"/>
            <a:ext cx="2223648" cy="939791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800" b="1" dirty="0">
                <a:solidFill>
                  <a:schemeClr val="accent1"/>
                </a:solidFill>
                <a:latin typeface="+mj-lt"/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accent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A93E931-DEC3-5C47-C352-B589678FA07C}"/>
              </a:ext>
            </a:extLst>
          </p:cNvPr>
          <p:cNvSpPr txBox="1"/>
          <p:nvPr/>
        </p:nvSpPr>
        <p:spPr>
          <a:xfrm>
            <a:off x="1014126" y="3321306"/>
            <a:ext cx="2223648" cy="939791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800" b="1" dirty="0">
                <a:solidFill>
                  <a:schemeClr val="accent2"/>
                </a:solidFill>
                <a:latin typeface="+mj-lt"/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accent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FEC60B2-0D55-C33A-4921-7FEF9E823B54}"/>
              </a:ext>
            </a:extLst>
          </p:cNvPr>
          <p:cNvSpPr txBox="1"/>
          <p:nvPr/>
        </p:nvSpPr>
        <p:spPr>
          <a:xfrm>
            <a:off x="2043954" y="2185385"/>
            <a:ext cx="2471750" cy="939791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800" b="1" dirty="0">
                <a:solidFill>
                  <a:schemeClr val="accent3"/>
                </a:solidFill>
                <a:latin typeface="+mj-lt"/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accent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5E3AB56E-4382-EF14-C105-71E1C358EA24}"/>
              </a:ext>
            </a:extLst>
          </p:cNvPr>
          <p:cNvSpPr txBox="1"/>
          <p:nvPr/>
        </p:nvSpPr>
        <p:spPr>
          <a:xfrm>
            <a:off x="8618690" y="3321306"/>
            <a:ext cx="2304878" cy="939791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800" b="1" dirty="0">
                <a:solidFill>
                  <a:schemeClr val="accent6"/>
                </a:solidFill>
                <a:latin typeface="+mj-lt"/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accent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Insert your text here Insert your text here Insert your text here Insert your text here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714A3E42-880C-B6C7-5BB4-AF48E182AC47}"/>
              </a:ext>
            </a:extLst>
          </p:cNvPr>
          <p:cNvSpPr txBox="1"/>
          <p:nvPr/>
        </p:nvSpPr>
        <p:spPr>
          <a:xfrm>
            <a:off x="9329266" y="4724760"/>
            <a:ext cx="2304878" cy="939791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8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accent6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Insert your text here Insert your text here Insert your text here Insert your text here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A044D16-AE51-FAE3-BED3-CDAF2731723E}"/>
              </a:ext>
            </a:extLst>
          </p:cNvPr>
          <p:cNvSpPr txBox="1"/>
          <p:nvPr/>
        </p:nvSpPr>
        <p:spPr>
          <a:xfrm>
            <a:off x="7328722" y="2185385"/>
            <a:ext cx="2304878" cy="939791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800" b="1" dirty="0">
                <a:solidFill>
                  <a:schemeClr val="accent5"/>
                </a:solidFill>
                <a:latin typeface="+mj-lt"/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accent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Insert your text here Insert your text here Insert your text here Insert your text here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81C05AA4-CCC1-7E86-7C90-353E629BC24F}"/>
              </a:ext>
            </a:extLst>
          </p:cNvPr>
          <p:cNvSpPr txBox="1"/>
          <p:nvPr/>
        </p:nvSpPr>
        <p:spPr>
          <a:xfrm>
            <a:off x="4959911" y="1852760"/>
            <a:ext cx="2304878" cy="939791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1800" b="1" dirty="0">
                <a:solidFill>
                  <a:schemeClr val="accent4"/>
                </a:solidFill>
                <a:latin typeface="+mj-lt"/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accent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</p:spTree>
    <p:extLst>
      <p:ext uri="{BB962C8B-B14F-4D97-AF65-F5344CB8AC3E}">
        <p14:creationId xmlns:p14="http://schemas.microsoft.com/office/powerpoint/2010/main" val="11626533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2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83</TotalTime>
  <Words>151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ourier New</vt:lpstr>
      <vt:lpstr>Crimson Pro</vt:lpstr>
      <vt:lpstr>Lato Light</vt:lpstr>
      <vt:lpstr>Open Sans Light</vt:lpstr>
      <vt:lpstr>Wingdings</vt:lpstr>
      <vt:lpstr>Office Theme</vt:lpstr>
      <vt:lpstr>think-cell Slide</vt:lpstr>
      <vt:lpstr>7 Semi circle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448</cp:revision>
  <dcterms:created xsi:type="dcterms:W3CDTF">2021-03-31T02:49:57Z</dcterms:created>
  <dcterms:modified xsi:type="dcterms:W3CDTF">2025-10-15T08:26:27Z</dcterms:modified>
  <cp:category/>
</cp:coreProperties>
</file>